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slideLayouts/slideLayout35.xml" ContentType="application/vnd.openxmlformats-officedocument.presentationml.slideLayout+xml"/>
  <Override PartName="/ppt/theme/theme10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68" r:id="rId2"/>
    <p:sldMasterId id="2147483756" r:id="rId3"/>
    <p:sldMasterId id="2147483744" r:id="rId4"/>
    <p:sldMasterId id="2147483742" r:id="rId5"/>
    <p:sldMasterId id="2147483729" r:id="rId6"/>
    <p:sldMasterId id="2147483715" r:id="rId7"/>
    <p:sldMasterId id="2147483702" r:id="rId8"/>
    <p:sldMasterId id="2147483662" r:id="rId9"/>
    <p:sldMasterId id="2147483780" r:id="rId10"/>
    <p:sldMasterId id="2147483826" r:id="rId11"/>
  </p:sldMasterIdLst>
  <p:notesMasterIdLst>
    <p:notesMasterId r:id="rId26"/>
  </p:notesMasterIdLst>
  <p:handoutMasterIdLst>
    <p:handoutMasterId r:id="rId27"/>
  </p:handoutMasterIdLst>
  <p:sldIdLst>
    <p:sldId id="910" r:id="rId12"/>
    <p:sldId id="1129" r:id="rId13"/>
    <p:sldId id="889" r:id="rId14"/>
    <p:sldId id="1137" r:id="rId15"/>
    <p:sldId id="1181" r:id="rId16"/>
    <p:sldId id="1177" r:id="rId17"/>
    <p:sldId id="1179" r:id="rId18"/>
    <p:sldId id="1159" r:id="rId19"/>
    <p:sldId id="1184" r:id="rId20"/>
    <p:sldId id="1165" r:id="rId21"/>
    <p:sldId id="1154" r:id="rId22"/>
    <p:sldId id="1180" r:id="rId23"/>
    <p:sldId id="1176" r:id="rId24"/>
    <p:sldId id="1170" r:id="rId25"/>
  </p:sldIdLst>
  <p:sldSz cx="12192000" cy="6858000"/>
  <p:notesSz cx="6797675" cy="9926638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as Trautner" initials="AT" lastIdx="1" clrIdx="0">
    <p:extLst>
      <p:ext uri="{19B8F6BF-5375-455C-9EA6-DF929625EA0E}">
        <p15:presenceInfo xmlns:p15="http://schemas.microsoft.com/office/powerpoint/2012/main" userId="c3555a6ac94177b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29CE"/>
    <a:srgbClr val="936F09"/>
    <a:srgbClr val="8C3D91"/>
    <a:srgbClr val="8C2991"/>
    <a:srgbClr val="7005D4"/>
    <a:srgbClr val="70D9D4"/>
    <a:srgbClr val="181CC7"/>
    <a:srgbClr val="0A128C"/>
    <a:srgbClr val="E9EDF4"/>
    <a:srgbClr val="C41B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9" autoAdjust="0"/>
    <p:restoredTop sz="94763" autoAdjust="0"/>
  </p:normalViewPr>
  <p:slideViewPr>
    <p:cSldViewPr showGuides="1">
      <p:cViewPr varScale="1">
        <p:scale>
          <a:sx n="87" d="100"/>
          <a:sy n="87" d="100"/>
        </p:scale>
        <p:origin x="426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12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s Trautner" userId="c3555a6ac94177be" providerId="LiveId" clId="{A6B42AF9-D8FF-4A4D-9E59-D0BF6E4FB839}"/>
    <pc:docChg chg="undo custSel addSld delSld modSld sldOrd modMainMaster">
      <pc:chgData name="Andreas Trautner" userId="c3555a6ac94177be" providerId="LiveId" clId="{A6B42AF9-D8FF-4A4D-9E59-D0BF6E4FB839}" dt="2020-05-13T17:00:12.245" v="1795"/>
      <pc:docMkLst>
        <pc:docMk/>
      </pc:docMkLst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2692067630" sldId="811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2452047158" sldId="836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2585363304" sldId="837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772066888" sldId="842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2580057510" sldId="855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2683386276" sldId="860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3817144939" sldId="861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902294057" sldId="863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1889486345" sldId="887"/>
        </pc:sldMkLst>
      </pc:sldChg>
      <pc:sldChg chg="modSp mod ord">
        <pc:chgData name="Andreas Trautner" userId="c3555a6ac94177be" providerId="LiveId" clId="{A6B42AF9-D8FF-4A4D-9E59-D0BF6E4FB839}" dt="2020-05-13T14:29:38.751" v="976" actId="20577"/>
        <pc:sldMkLst>
          <pc:docMk/>
          <pc:sldMk cId="2258518745" sldId="889"/>
        </pc:sldMkLst>
        <pc:spChg chg="mod">
          <ac:chgData name="Andreas Trautner" userId="c3555a6ac94177be" providerId="LiveId" clId="{A6B42AF9-D8FF-4A4D-9E59-D0BF6E4FB839}" dt="2020-05-13T14:12:58.852" v="230" actId="20577"/>
          <ac:spMkLst>
            <pc:docMk/>
            <pc:sldMk cId="2258518745" sldId="889"/>
            <ac:spMk id="3" creationId="{D8DDD2E2-AE6E-4E0A-8639-127A297FD184}"/>
          </ac:spMkLst>
        </pc:spChg>
        <pc:graphicFrameChg chg="mod modGraphic">
          <ac:chgData name="Andreas Trautner" userId="c3555a6ac94177be" providerId="LiveId" clId="{A6B42AF9-D8FF-4A4D-9E59-D0BF6E4FB839}" dt="2020-05-13T14:29:38.751" v="976" actId="20577"/>
          <ac:graphicFrameMkLst>
            <pc:docMk/>
            <pc:sldMk cId="2258518745" sldId="889"/>
            <ac:graphicFrameMk id="4" creationId="{55DDB7D0-D686-4A89-95AD-6C96112E461D}"/>
          </ac:graphicFrameMkLst>
        </pc:graphicFrameChg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2118885034" sldId="898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1270895862" sldId="899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651134794" sldId="902"/>
        </pc:sldMkLst>
      </pc:sldChg>
      <pc:sldChg chg="del">
        <pc:chgData name="Andreas Trautner" userId="c3555a6ac94177be" providerId="LiveId" clId="{A6B42AF9-D8FF-4A4D-9E59-D0BF6E4FB839}" dt="2020-05-13T13:54:47.831" v="6" actId="2696"/>
        <pc:sldMkLst>
          <pc:docMk/>
          <pc:sldMk cId="976687315" sldId="904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3776320520" sldId="907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665994841" sldId="908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4111708618" sldId="909"/>
        </pc:sldMkLst>
      </pc:sldChg>
      <pc:sldChg chg="modSp mod">
        <pc:chgData name="Andreas Trautner" userId="c3555a6ac94177be" providerId="LiveId" clId="{A6B42AF9-D8FF-4A4D-9E59-D0BF6E4FB839}" dt="2020-05-13T13:57:36.097" v="167" actId="1076"/>
        <pc:sldMkLst>
          <pc:docMk/>
          <pc:sldMk cId="2144647994" sldId="910"/>
        </pc:sldMkLst>
        <pc:spChg chg="mod">
          <ac:chgData name="Andreas Trautner" userId="c3555a6ac94177be" providerId="LiveId" clId="{A6B42AF9-D8FF-4A4D-9E59-D0BF6E4FB839}" dt="2020-05-13T13:57:36.097" v="167" actId="1076"/>
          <ac:spMkLst>
            <pc:docMk/>
            <pc:sldMk cId="2144647994" sldId="910"/>
            <ac:spMk id="7" creationId="{9F858BE9-8378-4644-8738-8BF91B3647D0}"/>
          </ac:spMkLst>
        </pc:spChg>
        <pc:spChg chg="mod">
          <ac:chgData name="Andreas Trautner" userId="c3555a6ac94177be" providerId="LiveId" clId="{A6B42AF9-D8FF-4A4D-9E59-D0BF6E4FB839}" dt="2020-05-13T13:57:11.853" v="161" actId="20577"/>
          <ac:spMkLst>
            <pc:docMk/>
            <pc:sldMk cId="2144647994" sldId="910"/>
            <ac:spMk id="10" creationId="{4470B633-57AB-409F-9ACF-37F40CB8B945}"/>
          </ac:spMkLst>
        </pc:spChg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415653051" sldId="911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366533675" sldId="912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512474812" sldId="913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3581718609" sldId="914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3342847298" sldId="915"/>
        </pc:sldMkLst>
      </pc:sldChg>
      <pc:sldChg chg="modSp mod ord">
        <pc:chgData name="Andreas Trautner" userId="c3555a6ac94177be" providerId="LiveId" clId="{A6B42AF9-D8FF-4A4D-9E59-D0BF6E4FB839}" dt="2020-05-13T14:23:31.495" v="610"/>
        <pc:sldMkLst>
          <pc:docMk/>
          <pc:sldMk cId="2174165684" sldId="916"/>
        </pc:sldMkLst>
        <pc:spChg chg="mod">
          <ac:chgData name="Andreas Trautner" userId="c3555a6ac94177be" providerId="LiveId" clId="{A6B42AF9-D8FF-4A4D-9E59-D0BF6E4FB839}" dt="2020-05-13T14:23:23.951" v="608" actId="20577"/>
          <ac:spMkLst>
            <pc:docMk/>
            <pc:sldMk cId="2174165684" sldId="916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23:12.620" v="594" actId="20577"/>
          <ac:spMkLst>
            <pc:docMk/>
            <pc:sldMk cId="2174165684" sldId="916"/>
            <ac:spMk id="6" creationId="{2FD95B6A-1DC2-4634-8B22-20893EB9CD23}"/>
          </ac:spMkLst>
        </pc:spChg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966599502" sldId="917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3031543774" sldId="919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962434779" sldId="920"/>
        </pc:sldMkLst>
      </pc:sldChg>
      <pc:sldChg chg="del">
        <pc:chgData name="Andreas Trautner" userId="c3555a6ac94177be" providerId="LiveId" clId="{A6B42AF9-D8FF-4A4D-9E59-D0BF6E4FB839}" dt="2020-05-13T13:54:31.514" v="4" actId="2696"/>
        <pc:sldMkLst>
          <pc:docMk/>
          <pc:sldMk cId="3181308478" sldId="922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2061786087" sldId="923"/>
        </pc:sldMkLst>
      </pc:sldChg>
      <pc:sldChg chg="addSp delSp modSp mod ord">
        <pc:chgData name="Andreas Trautner" userId="c3555a6ac94177be" providerId="LiveId" clId="{A6B42AF9-D8FF-4A4D-9E59-D0BF6E4FB839}" dt="2020-05-13T17:00:12.245" v="1795"/>
        <pc:sldMkLst>
          <pc:docMk/>
          <pc:sldMk cId="2175647345" sldId="925"/>
        </pc:sldMkLst>
        <pc:spChg chg="del">
          <ac:chgData name="Andreas Trautner" userId="c3555a6ac94177be" providerId="LiveId" clId="{A6B42AF9-D8FF-4A4D-9E59-D0BF6E4FB839}" dt="2020-05-13T16:24:06.895" v="1502" actId="478"/>
          <ac:spMkLst>
            <pc:docMk/>
            <pc:sldMk cId="2175647345" sldId="925"/>
            <ac:spMk id="5" creationId="{8D5D4D86-06BF-4C4B-9C19-68BEFBC929A2}"/>
          </ac:spMkLst>
        </pc:spChg>
        <pc:spChg chg="add mod">
          <ac:chgData name="Andreas Trautner" userId="c3555a6ac94177be" providerId="LiveId" clId="{A6B42AF9-D8FF-4A4D-9E59-D0BF6E4FB839}" dt="2020-05-13T16:24:14.907" v="1503"/>
          <ac:spMkLst>
            <pc:docMk/>
            <pc:sldMk cId="2175647345" sldId="925"/>
            <ac:spMk id="6" creationId="{27422CE8-9732-4E7E-8109-A37575450D76}"/>
          </ac:spMkLst>
        </pc:spChg>
        <pc:spChg chg="add mod">
          <ac:chgData name="Andreas Trautner" userId="c3555a6ac94177be" providerId="LiveId" clId="{A6B42AF9-D8FF-4A4D-9E59-D0BF6E4FB839}" dt="2020-05-13T17:00:12.245" v="1795"/>
          <ac:spMkLst>
            <pc:docMk/>
            <pc:sldMk cId="2175647345" sldId="925"/>
            <ac:spMk id="7" creationId="{17C76D18-D5AD-47E4-A15E-669B2A5198B3}"/>
          </ac:spMkLst>
        </pc:spChg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3467559036" sldId="926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4160385833" sldId="927"/>
        </pc:sldMkLst>
      </pc:sldChg>
      <pc:sldChg chg="del">
        <pc:chgData name="Andreas Trautner" userId="c3555a6ac94177be" providerId="LiveId" clId="{A6B42AF9-D8FF-4A4D-9E59-D0BF6E4FB839}" dt="2020-05-13T13:54:47.831" v="6" actId="2696"/>
        <pc:sldMkLst>
          <pc:docMk/>
          <pc:sldMk cId="3149748219" sldId="932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1161791026" sldId="1127"/>
        </pc:sldMkLst>
      </pc:sldChg>
      <pc:sldChg chg="del">
        <pc:chgData name="Andreas Trautner" userId="c3555a6ac94177be" providerId="LiveId" clId="{A6B42AF9-D8FF-4A4D-9E59-D0BF6E4FB839}" dt="2020-05-13T13:54:20.968" v="3" actId="2696"/>
        <pc:sldMkLst>
          <pc:docMk/>
          <pc:sldMk cId="2790674580" sldId="1128"/>
        </pc:sldMkLst>
      </pc:sldChg>
      <pc:sldChg chg="addSp delSp modSp mod ord delAnim modAnim">
        <pc:chgData name="Andreas Trautner" userId="c3555a6ac94177be" providerId="LiveId" clId="{A6B42AF9-D8FF-4A4D-9E59-D0BF6E4FB839}" dt="2020-05-13T14:34:57.906" v="1083" actId="14100"/>
        <pc:sldMkLst>
          <pc:docMk/>
          <pc:sldMk cId="4196953868" sldId="1129"/>
        </pc:sldMkLst>
        <pc:picChg chg="del">
          <ac:chgData name="Andreas Trautner" userId="c3555a6ac94177be" providerId="LiveId" clId="{A6B42AF9-D8FF-4A4D-9E59-D0BF6E4FB839}" dt="2020-05-13T13:54:02.864" v="1" actId="478"/>
          <ac:picMkLst>
            <pc:docMk/>
            <pc:sldMk cId="4196953868" sldId="1129"/>
            <ac:picMk id="3" creationId="{14901155-87D4-4EC0-A220-AAD6A0667196}"/>
          </ac:picMkLst>
        </pc:picChg>
        <pc:picChg chg="del">
          <ac:chgData name="Andreas Trautner" userId="c3555a6ac94177be" providerId="LiveId" clId="{A6B42AF9-D8FF-4A4D-9E59-D0BF6E4FB839}" dt="2020-05-13T13:54:04.457" v="2" actId="478"/>
          <ac:picMkLst>
            <pc:docMk/>
            <pc:sldMk cId="4196953868" sldId="1129"/>
            <ac:picMk id="4" creationId="{A3F84AED-C353-4072-85D3-1139650DCF07}"/>
          </ac:picMkLst>
        </pc:picChg>
        <pc:picChg chg="del">
          <ac:chgData name="Andreas Trautner" userId="c3555a6ac94177be" providerId="LiveId" clId="{A6B42AF9-D8FF-4A4D-9E59-D0BF6E4FB839}" dt="2020-05-13T13:54:01.458" v="0" actId="478"/>
          <ac:picMkLst>
            <pc:docMk/>
            <pc:sldMk cId="4196953868" sldId="1129"/>
            <ac:picMk id="6" creationId="{00000000-0000-0000-0000-000000000000}"/>
          </ac:picMkLst>
        </pc:picChg>
        <pc:picChg chg="add mod">
          <ac:chgData name="Andreas Trautner" userId="c3555a6ac94177be" providerId="LiveId" clId="{A6B42AF9-D8FF-4A4D-9E59-D0BF6E4FB839}" dt="2020-05-13T14:00:35.298" v="175" actId="1076"/>
          <ac:picMkLst>
            <pc:docMk/>
            <pc:sldMk cId="4196953868" sldId="1129"/>
            <ac:picMk id="7" creationId="{3682C777-2817-498C-AF85-319DEE6D67F3}"/>
          </ac:picMkLst>
        </pc:picChg>
        <pc:picChg chg="add mod">
          <ac:chgData name="Andreas Trautner" userId="c3555a6ac94177be" providerId="LiveId" clId="{A6B42AF9-D8FF-4A4D-9E59-D0BF6E4FB839}" dt="2020-05-13T14:00:35.298" v="175" actId="1076"/>
          <ac:picMkLst>
            <pc:docMk/>
            <pc:sldMk cId="4196953868" sldId="1129"/>
            <ac:picMk id="8" creationId="{AEE8C2A7-2A69-4749-9205-1AC5E60BBC4F}"/>
          </ac:picMkLst>
        </pc:picChg>
        <pc:picChg chg="add del mod">
          <ac:chgData name="Andreas Trautner" userId="c3555a6ac94177be" providerId="LiveId" clId="{A6B42AF9-D8FF-4A4D-9E59-D0BF6E4FB839}" dt="2020-05-13T14:33:40.246" v="1032" actId="478"/>
          <ac:picMkLst>
            <pc:docMk/>
            <pc:sldMk cId="4196953868" sldId="1129"/>
            <ac:picMk id="9" creationId="{CB21678D-9864-4968-8B7E-143235743182}"/>
          </ac:picMkLst>
        </pc:picChg>
        <pc:picChg chg="add mod">
          <ac:chgData name="Andreas Trautner" userId="c3555a6ac94177be" providerId="LiveId" clId="{A6B42AF9-D8FF-4A4D-9E59-D0BF6E4FB839}" dt="2020-05-13T14:34:57.906" v="1083" actId="14100"/>
          <ac:picMkLst>
            <pc:docMk/>
            <pc:sldMk cId="4196953868" sldId="1129"/>
            <ac:picMk id="10" creationId="{21FDF137-EC24-4CB6-96DE-67BF53557087}"/>
          </ac:picMkLst>
        </pc:picChg>
        <pc:picChg chg="add mod">
          <ac:chgData name="Andreas Trautner" userId="c3555a6ac94177be" providerId="LiveId" clId="{A6B42AF9-D8FF-4A4D-9E59-D0BF6E4FB839}" dt="2020-05-13T14:34:49.873" v="1082" actId="1076"/>
          <ac:picMkLst>
            <pc:docMk/>
            <pc:sldMk cId="4196953868" sldId="1129"/>
            <ac:picMk id="11" creationId="{E77EBA57-4C44-4795-9A9F-725F387039BE}"/>
          </ac:picMkLst>
        </pc:picChg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1222976290" sldId="1130"/>
        </pc:sldMkLst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2649749383" sldId="1131"/>
        </pc:sldMkLst>
      </pc:sldChg>
      <pc:sldChg chg="addSp delSp modSp mod">
        <pc:chgData name="Andreas Trautner" userId="c3555a6ac94177be" providerId="LiveId" clId="{A6B42AF9-D8FF-4A4D-9E59-D0BF6E4FB839}" dt="2020-05-13T13:57:46.797" v="169"/>
        <pc:sldMkLst>
          <pc:docMk/>
          <pc:sldMk cId="235545082" sldId="1133"/>
        </pc:sldMkLst>
        <pc:spChg chg="add mod">
          <ac:chgData name="Andreas Trautner" userId="c3555a6ac94177be" providerId="LiveId" clId="{A6B42AF9-D8FF-4A4D-9E59-D0BF6E4FB839}" dt="2020-05-13T13:57:46.797" v="169"/>
          <ac:spMkLst>
            <pc:docMk/>
            <pc:sldMk cId="235545082" sldId="1133"/>
            <ac:spMk id="7" creationId="{5FA10B7C-422B-4C16-A953-67A38C883639}"/>
          </ac:spMkLst>
        </pc:spChg>
        <pc:spChg chg="del mod">
          <ac:chgData name="Andreas Trautner" userId="c3555a6ac94177be" providerId="LiveId" clId="{A6B42AF9-D8FF-4A4D-9E59-D0BF6E4FB839}" dt="2020-05-13T13:57:45.376" v="168" actId="478"/>
          <ac:spMkLst>
            <pc:docMk/>
            <pc:sldMk cId="235545082" sldId="1133"/>
            <ac:spMk id="12" creationId="{F6EFF270-F940-4F4E-BB53-88DD88646065}"/>
          </ac:spMkLst>
        </pc:spChg>
      </pc:sldChg>
      <pc:sldChg chg="del">
        <pc:chgData name="Andreas Trautner" userId="c3555a6ac94177be" providerId="LiveId" clId="{A6B42AF9-D8FF-4A4D-9E59-D0BF6E4FB839}" dt="2020-05-13T16:23:49.647" v="1499" actId="2696"/>
        <pc:sldMkLst>
          <pc:docMk/>
          <pc:sldMk cId="181003712" sldId="1134"/>
        </pc:sldMkLst>
      </pc:sldChg>
      <pc:sldChg chg="addSp modSp add mod ord modAnim">
        <pc:chgData name="Andreas Trautner" userId="c3555a6ac94177be" providerId="LiveId" clId="{A6B42AF9-D8FF-4A4D-9E59-D0BF6E4FB839}" dt="2020-05-13T16:49:28.221" v="1612" actId="20577"/>
        <pc:sldMkLst>
          <pc:docMk/>
          <pc:sldMk cId="1770761831" sldId="1135"/>
        </pc:sldMkLst>
        <pc:spChg chg="add mod">
          <ac:chgData name="Andreas Trautner" userId="c3555a6ac94177be" providerId="LiveId" clId="{A6B42AF9-D8FF-4A4D-9E59-D0BF6E4FB839}" dt="2020-05-13T14:27:58.461" v="859"/>
          <ac:spMkLst>
            <pc:docMk/>
            <pc:sldMk cId="1770761831" sldId="1135"/>
            <ac:spMk id="3" creationId="{E2CA5A4C-0530-4C54-AA4D-BE489A60DF3B}"/>
          </ac:spMkLst>
        </pc:spChg>
        <pc:spChg chg="add mod">
          <ac:chgData name="Andreas Trautner" userId="c3555a6ac94177be" providerId="LiveId" clId="{A6B42AF9-D8FF-4A4D-9E59-D0BF6E4FB839}" dt="2020-05-13T16:49:28.221" v="1612" actId="20577"/>
          <ac:spMkLst>
            <pc:docMk/>
            <pc:sldMk cId="1770761831" sldId="1135"/>
            <ac:spMk id="4" creationId="{B4DC875A-5189-4A22-B1D6-DED6E2405EA7}"/>
          </ac:spMkLst>
        </pc:spChg>
        <pc:spChg chg="add mod">
          <ac:chgData name="Andreas Trautner" userId="c3555a6ac94177be" providerId="LiveId" clId="{A6B42AF9-D8FF-4A4D-9E59-D0BF6E4FB839}" dt="2020-05-13T16:49:12.932" v="1611" actId="6549"/>
          <ac:spMkLst>
            <pc:docMk/>
            <pc:sldMk cId="1770761831" sldId="1135"/>
            <ac:spMk id="5" creationId="{74A95FE5-3F74-4DC1-87E0-CB931CC3467E}"/>
          </ac:spMkLst>
        </pc:spChg>
      </pc:sldChg>
      <pc:sldChg chg="del">
        <pc:chgData name="Andreas Trautner" userId="c3555a6ac94177be" providerId="LiveId" clId="{A6B42AF9-D8FF-4A4D-9E59-D0BF6E4FB839}" dt="2020-05-13T13:54:42.879" v="5" actId="2696"/>
        <pc:sldMkLst>
          <pc:docMk/>
          <pc:sldMk cId="3743730209" sldId="1135"/>
        </pc:sldMkLst>
      </pc:sldChg>
      <pc:sldChg chg="addSp modSp add del ord">
        <pc:chgData name="Andreas Trautner" userId="c3555a6ac94177be" providerId="LiveId" clId="{A6B42AF9-D8FF-4A4D-9E59-D0BF6E4FB839}" dt="2020-05-13T16:49:54.517" v="1613" actId="2696"/>
        <pc:sldMkLst>
          <pc:docMk/>
          <pc:sldMk cId="43642798" sldId="1136"/>
        </pc:sldMkLst>
        <pc:spChg chg="add mod">
          <ac:chgData name="Andreas Trautner" userId="c3555a6ac94177be" providerId="LiveId" clId="{A6B42AF9-D8FF-4A4D-9E59-D0BF6E4FB839}" dt="2020-05-13T14:27:34.060" v="822"/>
          <ac:spMkLst>
            <pc:docMk/>
            <pc:sldMk cId="43642798" sldId="1136"/>
            <ac:spMk id="3" creationId="{FD2F37FD-9A9C-4CE7-8115-F86BB79A2A17}"/>
          </ac:spMkLst>
        </pc:spChg>
      </pc:sldChg>
      <pc:sldChg chg="addSp delSp modSp add mod ord">
        <pc:chgData name="Andreas Trautner" userId="c3555a6ac94177be" providerId="LiveId" clId="{A6B42AF9-D8FF-4A4D-9E59-D0BF6E4FB839}" dt="2020-05-13T14:35:56.969" v="1088"/>
        <pc:sldMkLst>
          <pc:docMk/>
          <pc:sldMk cId="2279296095" sldId="1137"/>
        </pc:sldMkLst>
        <pc:spChg chg="add mod">
          <ac:chgData name="Andreas Trautner" userId="c3555a6ac94177be" providerId="LiveId" clId="{A6B42AF9-D8FF-4A4D-9E59-D0BF6E4FB839}" dt="2020-05-13T14:27:06.143" v="789"/>
          <ac:spMkLst>
            <pc:docMk/>
            <pc:sldMk cId="2279296095" sldId="1137"/>
            <ac:spMk id="3" creationId="{0F8F054F-FEFD-4BE2-805C-5415F72DE1DB}"/>
          </ac:spMkLst>
        </pc:spChg>
        <pc:graphicFrameChg chg="add mod modGraphic">
          <ac:chgData name="Andreas Trautner" userId="c3555a6ac94177be" providerId="LiveId" clId="{A6B42AF9-D8FF-4A4D-9E59-D0BF6E4FB839}" dt="2020-05-13T14:35:56.969" v="1088"/>
          <ac:graphicFrameMkLst>
            <pc:docMk/>
            <pc:sldMk cId="2279296095" sldId="1137"/>
            <ac:graphicFrameMk id="5" creationId="{67467B51-2904-42A1-A555-6D96DA831379}"/>
          </ac:graphicFrameMkLst>
        </pc:graphicFrameChg>
        <pc:picChg chg="add del mod">
          <ac:chgData name="Andreas Trautner" userId="c3555a6ac94177be" providerId="LiveId" clId="{A6B42AF9-D8FF-4A4D-9E59-D0BF6E4FB839}" dt="2020-05-13T14:35:31.135" v="1085" actId="478"/>
          <ac:picMkLst>
            <pc:docMk/>
            <pc:sldMk cId="2279296095" sldId="1137"/>
            <ac:picMk id="4" creationId="{725851B4-56EB-4A00-BA7D-88674F050601}"/>
          </ac:picMkLst>
        </pc:picChg>
      </pc:sldChg>
      <pc:sldChg chg="modSp add mod ord">
        <pc:chgData name="Andreas Trautner" userId="c3555a6ac94177be" providerId="LiveId" clId="{A6B42AF9-D8FF-4A4D-9E59-D0BF6E4FB839}" dt="2020-05-13T16:21:46.061" v="1484"/>
        <pc:sldMkLst>
          <pc:docMk/>
          <pc:sldMk cId="2411708507" sldId="1138"/>
        </pc:sldMkLst>
        <pc:spChg chg="mod">
          <ac:chgData name="Andreas Trautner" userId="c3555a6ac94177be" providerId="LiveId" clId="{A6B42AF9-D8FF-4A4D-9E59-D0BF6E4FB839}" dt="2020-05-13T14:27:27.019" v="821" actId="20577"/>
          <ac:spMkLst>
            <pc:docMk/>
            <pc:sldMk cId="2411708507" sldId="1138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24:16.619" v="661" actId="20577"/>
          <ac:spMkLst>
            <pc:docMk/>
            <pc:sldMk cId="2411708507" sldId="1138"/>
            <ac:spMk id="6" creationId="{2FD95B6A-1DC2-4634-8B22-20893EB9CD23}"/>
          </ac:spMkLst>
        </pc:spChg>
      </pc:sldChg>
      <pc:sldChg chg="modSp add mod">
        <pc:chgData name="Andreas Trautner" userId="c3555a6ac94177be" providerId="LiveId" clId="{A6B42AF9-D8FF-4A4D-9E59-D0BF6E4FB839}" dt="2020-05-13T14:27:51.838" v="858" actId="14100"/>
        <pc:sldMkLst>
          <pc:docMk/>
          <pc:sldMk cId="2047912653" sldId="1139"/>
        </pc:sldMkLst>
        <pc:spChg chg="mod">
          <ac:chgData name="Andreas Trautner" userId="c3555a6ac94177be" providerId="LiveId" clId="{A6B42AF9-D8FF-4A4D-9E59-D0BF6E4FB839}" dt="2020-05-13T14:27:51.838" v="858" actId="14100"/>
          <ac:spMkLst>
            <pc:docMk/>
            <pc:sldMk cId="2047912653" sldId="1139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24:48.780" v="702" actId="20577"/>
          <ac:spMkLst>
            <pc:docMk/>
            <pc:sldMk cId="2047912653" sldId="1139"/>
            <ac:spMk id="6" creationId="{2FD95B6A-1DC2-4634-8B22-20893EB9CD23}"/>
          </ac:spMkLst>
        </pc:spChg>
      </pc:sldChg>
      <pc:sldChg chg="modSp add mod ord">
        <pc:chgData name="Andreas Trautner" userId="c3555a6ac94177be" providerId="LiveId" clId="{A6B42AF9-D8FF-4A4D-9E59-D0BF6E4FB839}" dt="2020-05-13T14:30:13.405" v="1026" actId="20577"/>
        <pc:sldMkLst>
          <pc:docMk/>
          <pc:sldMk cId="1312552152" sldId="1140"/>
        </pc:sldMkLst>
        <pc:spChg chg="mod">
          <ac:chgData name="Andreas Trautner" userId="c3555a6ac94177be" providerId="LiveId" clId="{A6B42AF9-D8FF-4A4D-9E59-D0BF6E4FB839}" dt="2020-05-13T14:30:13.405" v="1026" actId="20577"/>
          <ac:spMkLst>
            <pc:docMk/>
            <pc:sldMk cId="1312552152" sldId="1140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30:03.342" v="1001" actId="20577"/>
          <ac:spMkLst>
            <pc:docMk/>
            <pc:sldMk cId="1312552152" sldId="1140"/>
            <ac:spMk id="6" creationId="{2FD95B6A-1DC2-4634-8B22-20893EB9CD23}"/>
          </ac:spMkLst>
        </pc:spChg>
      </pc:sldChg>
      <pc:sldChg chg="modSp add mod ord">
        <pc:chgData name="Andreas Trautner" userId="c3555a6ac94177be" providerId="LiveId" clId="{A6B42AF9-D8FF-4A4D-9E59-D0BF6E4FB839}" dt="2020-05-13T14:28:55.780" v="946" actId="14100"/>
        <pc:sldMkLst>
          <pc:docMk/>
          <pc:sldMk cId="230942619" sldId="1141"/>
        </pc:sldMkLst>
        <pc:spChg chg="mod">
          <ac:chgData name="Andreas Trautner" userId="c3555a6ac94177be" providerId="LiveId" clId="{A6B42AF9-D8FF-4A4D-9E59-D0BF6E4FB839}" dt="2020-05-13T14:28:55.780" v="946" actId="14100"/>
          <ac:spMkLst>
            <pc:docMk/>
            <pc:sldMk cId="230942619" sldId="1141"/>
            <ac:spMk id="5" creationId="{FE4812CD-7B10-4E16-9CDE-D2E09964AB01}"/>
          </ac:spMkLst>
        </pc:spChg>
        <pc:spChg chg="mod">
          <ac:chgData name="Andreas Trautner" userId="c3555a6ac94177be" providerId="LiveId" clId="{A6B42AF9-D8FF-4A4D-9E59-D0BF6E4FB839}" dt="2020-05-13T14:25:44.966" v="776" actId="20577"/>
          <ac:spMkLst>
            <pc:docMk/>
            <pc:sldMk cId="230942619" sldId="1141"/>
            <ac:spMk id="6" creationId="{2FD95B6A-1DC2-4634-8B22-20893EB9CD23}"/>
          </ac:spMkLst>
        </pc:spChg>
      </pc:sldChg>
      <pc:sldChg chg="addSp delSp modSp add mod">
        <pc:chgData name="Andreas Trautner" userId="c3555a6ac94177be" providerId="LiveId" clId="{A6B42AF9-D8FF-4A4D-9E59-D0BF6E4FB839}" dt="2020-05-13T14:30:20.916" v="1028"/>
        <pc:sldMkLst>
          <pc:docMk/>
          <pc:sldMk cId="648035970" sldId="1142"/>
        </pc:sldMkLst>
        <pc:spChg chg="add del mod">
          <ac:chgData name="Andreas Trautner" userId="c3555a6ac94177be" providerId="LiveId" clId="{A6B42AF9-D8FF-4A4D-9E59-D0BF6E4FB839}" dt="2020-05-13T14:30:19.335" v="1027" actId="478"/>
          <ac:spMkLst>
            <pc:docMk/>
            <pc:sldMk cId="648035970" sldId="1142"/>
            <ac:spMk id="3" creationId="{10F8E8FC-B60C-47C4-8A37-0E6E9CCE2397}"/>
          </ac:spMkLst>
        </pc:spChg>
        <pc:spChg chg="add mod">
          <ac:chgData name="Andreas Trautner" userId="c3555a6ac94177be" providerId="LiveId" clId="{A6B42AF9-D8FF-4A4D-9E59-D0BF6E4FB839}" dt="2020-05-13T14:30:20.916" v="1028"/>
          <ac:spMkLst>
            <pc:docMk/>
            <pc:sldMk cId="648035970" sldId="1142"/>
            <ac:spMk id="4" creationId="{3BCBFC0B-BF97-4BF0-AB09-1F06622BB969}"/>
          </ac:spMkLst>
        </pc:spChg>
      </pc:sldChg>
      <pc:sldChg chg="addSp modSp add">
        <pc:chgData name="Andreas Trautner" userId="c3555a6ac94177be" providerId="LiveId" clId="{A6B42AF9-D8FF-4A4D-9E59-D0BF6E4FB839}" dt="2020-05-13T14:29:00.863" v="947"/>
        <pc:sldMkLst>
          <pc:docMk/>
          <pc:sldMk cId="2445534220" sldId="1143"/>
        </pc:sldMkLst>
        <pc:spChg chg="add mod">
          <ac:chgData name="Andreas Trautner" userId="c3555a6ac94177be" providerId="LiveId" clId="{A6B42AF9-D8FF-4A4D-9E59-D0BF6E4FB839}" dt="2020-05-13T14:29:00.863" v="947"/>
          <ac:spMkLst>
            <pc:docMk/>
            <pc:sldMk cId="2445534220" sldId="1143"/>
            <ac:spMk id="3" creationId="{216295BE-66AA-415D-BD74-F756F058514F}"/>
          </ac:spMkLst>
        </pc:spChg>
      </pc:sldChg>
      <pc:sldChg chg="addSp delSp modSp add mod">
        <pc:chgData name="Andreas Trautner" userId="c3555a6ac94177be" providerId="LiveId" clId="{A6B42AF9-D8FF-4A4D-9E59-D0BF6E4FB839}" dt="2020-05-13T14:37:42.781" v="1095"/>
        <pc:sldMkLst>
          <pc:docMk/>
          <pc:sldMk cId="1119869254" sldId="1144"/>
        </pc:sldMkLst>
        <pc:graphicFrameChg chg="del">
          <ac:chgData name="Andreas Trautner" userId="c3555a6ac94177be" providerId="LiveId" clId="{A6B42AF9-D8FF-4A4D-9E59-D0BF6E4FB839}" dt="2020-05-13T14:36:29.697" v="1090" actId="478"/>
          <ac:graphicFrameMkLst>
            <pc:docMk/>
            <pc:sldMk cId="1119869254" sldId="1144"/>
            <ac:graphicFrameMk id="5" creationId="{67467B51-2904-42A1-A555-6D96DA831379}"/>
          </ac:graphicFrameMkLst>
        </pc:graphicFrameChg>
        <pc:picChg chg="add mod">
          <ac:chgData name="Andreas Trautner" userId="c3555a6ac94177be" providerId="LiveId" clId="{A6B42AF9-D8FF-4A4D-9E59-D0BF6E4FB839}" dt="2020-05-13T14:37:42.781" v="1095"/>
          <ac:picMkLst>
            <pc:docMk/>
            <pc:sldMk cId="1119869254" sldId="1144"/>
            <ac:picMk id="6" creationId="{8FEE6A49-39D5-495F-8023-97D6C193DE85}"/>
          </ac:picMkLst>
        </pc:picChg>
      </pc:sldChg>
      <pc:sldChg chg="addSp delSp modSp add mod ord">
        <pc:chgData name="Andreas Trautner" userId="c3555a6ac94177be" providerId="LiveId" clId="{A6B42AF9-D8FF-4A4D-9E59-D0BF6E4FB839}" dt="2020-05-13T17:00:08.979" v="1794"/>
        <pc:sldMkLst>
          <pc:docMk/>
          <pc:sldMk cId="790561801" sldId="1145"/>
        </pc:sldMkLst>
        <pc:spChg chg="add mod">
          <ac:chgData name="Andreas Trautner" userId="c3555a6ac94177be" providerId="LiveId" clId="{A6B42AF9-D8FF-4A4D-9E59-D0BF6E4FB839}" dt="2020-05-13T17:00:08.979" v="1794"/>
          <ac:spMkLst>
            <pc:docMk/>
            <pc:sldMk cId="790561801" sldId="1145"/>
            <ac:spMk id="8" creationId="{1D47F068-4915-4746-A4BE-B4040A317701}"/>
          </ac:spMkLst>
        </pc:spChg>
        <pc:picChg chg="add mod">
          <ac:chgData name="Andreas Trautner" userId="c3555a6ac94177be" providerId="LiveId" clId="{A6B42AF9-D8FF-4A4D-9E59-D0BF6E4FB839}" dt="2020-05-13T14:54:34.080" v="1129" actId="14100"/>
          <ac:picMkLst>
            <pc:docMk/>
            <pc:sldMk cId="790561801" sldId="1145"/>
            <ac:picMk id="4" creationId="{B7F6E653-3F15-43E2-BAC2-63A005723E8D}"/>
          </ac:picMkLst>
        </pc:picChg>
        <pc:picChg chg="add mod">
          <ac:chgData name="Andreas Trautner" userId="c3555a6ac94177be" providerId="LiveId" clId="{A6B42AF9-D8FF-4A4D-9E59-D0BF6E4FB839}" dt="2020-05-13T14:54:38.822" v="1130" actId="1076"/>
          <ac:picMkLst>
            <pc:docMk/>
            <pc:sldMk cId="790561801" sldId="1145"/>
            <ac:picMk id="5" creationId="{782FD7D7-1B4F-415E-A762-25C7BE86CBD9}"/>
          </ac:picMkLst>
        </pc:picChg>
        <pc:picChg chg="add del mod">
          <ac:chgData name="Andreas Trautner" userId="c3555a6ac94177be" providerId="LiveId" clId="{A6B42AF9-D8FF-4A4D-9E59-D0BF6E4FB839}" dt="2020-05-13T14:54:54.935" v="1132" actId="478"/>
          <ac:picMkLst>
            <pc:docMk/>
            <pc:sldMk cId="790561801" sldId="1145"/>
            <ac:picMk id="6" creationId="{690F9994-C031-4A4E-A18C-9510778D5624}"/>
          </ac:picMkLst>
        </pc:picChg>
        <pc:picChg chg="add mod">
          <ac:chgData name="Andreas Trautner" userId="c3555a6ac94177be" providerId="LiveId" clId="{A6B42AF9-D8FF-4A4D-9E59-D0BF6E4FB839}" dt="2020-05-13T14:56:29.428" v="1136" actId="692"/>
          <ac:picMkLst>
            <pc:docMk/>
            <pc:sldMk cId="790561801" sldId="1145"/>
            <ac:picMk id="7" creationId="{54309246-2C91-454A-8B0B-9382AB4F2854}"/>
          </ac:picMkLst>
        </pc:picChg>
      </pc:sldChg>
      <pc:sldChg chg="addSp modSp add mod modAnim">
        <pc:chgData name="Andreas Trautner" userId="c3555a6ac94177be" providerId="LiveId" clId="{A6B42AF9-D8FF-4A4D-9E59-D0BF6E4FB839}" dt="2020-05-13T16:59:05.845" v="1788"/>
        <pc:sldMkLst>
          <pc:docMk/>
          <pc:sldMk cId="3012296250" sldId="1146"/>
        </pc:sldMkLst>
        <pc:spChg chg="add mod">
          <ac:chgData name="Andreas Trautner" userId="c3555a6ac94177be" providerId="LiveId" clId="{A6B42AF9-D8FF-4A4D-9E59-D0BF6E4FB839}" dt="2020-05-13T16:59:05.845" v="1788"/>
          <ac:spMkLst>
            <pc:docMk/>
            <pc:sldMk cId="3012296250" sldId="1146"/>
            <ac:spMk id="8" creationId="{32646BCC-C8DE-4FCB-8EB0-022D49BF5D3E}"/>
          </ac:spMkLst>
        </pc:spChg>
        <pc:picChg chg="add mod">
          <ac:chgData name="Andreas Trautner" userId="c3555a6ac94177be" providerId="LiveId" clId="{A6B42AF9-D8FF-4A4D-9E59-D0BF6E4FB839}" dt="2020-05-13T14:49:21.589" v="1110" actId="1076"/>
          <ac:picMkLst>
            <pc:docMk/>
            <pc:sldMk cId="3012296250" sldId="1146"/>
            <ac:picMk id="4" creationId="{8031C6B2-B616-4DF1-8C47-60FC3C4F19B8}"/>
          </ac:picMkLst>
        </pc:picChg>
        <pc:picChg chg="add mod">
          <ac:chgData name="Andreas Trautner" userId="c3555a6ac94177be" providerId="LiveId" clId="{A6B42AF9-D8FF-4A4D-9E59-D0BF6E4FB839}" dt="2020-05-13T14:49:18.315" v="1109" actId="1076"/>
          <ac:picMkLst>
            <pc:docMk/>
            <pc:sldMk cId="3012296250" sldId="1146"/>
            <ac:picMk id="5" creationId="{5A1AEF8D-0BFA-47A8-A18F-1443B5F8A99A}"/>
          </ac:picMkLst>
        </pc:picChg>
        <pc:picChg chg="add mod">
          <ac:chgData name="Andreas Trautner" userId="c3555a6ac94177be" providerId="LiveId" clId="{A6B42AF9-D8FF-4A4D-9E59-D0BF6E4FB839}" dt="2020-05-13T14:49:27.511" v="1112" actId="14100"/>
          <ac:picMkLst>
            <pc:docMk/>
            <pc:sldMk cId="3012296250" sldId="1146"/>
            <ac:picMk id="6" creationId="{E406A960-B6EB-4DC8-8C51-8839DE6C525C}"/>
          </ac:picMkLst>
        </pc:picChg>
        <pc:picChg chg="add mod">
          <ac:chgData name="Andreas Trautner" userId="c3555a6ac94177be" providerId="LiveId" clId="{A6B42AF9-D8FF-4A4D-9E59-D0BF6E4FB839}" dt="2020-05-13T14:50:01.260" v="1114" actId="1076"/>
          <ac:picMkLst>
            <pc:docMk/>
            <pc:sldMk cId="3012296250" sldId="1146"/>
            <ac:picMk id="7" creationId="{FB79C881-A99A-4598-A847-419D89662EB3}"/>
          </ac:picMkLst>
        </pc:picChg>
      </pc:sldChg>
      <pc:sldChg chg="addSp modSp add del modAnim">
        <pc:chgData name="Andreas Trautner" userId="c3555a6ac94177be" providerId="LiveId" clId="{A6B42AF9-D8FF-4A4D-9E59-D0BF6E4FB839}" dt="2020-05-13T15:54:14.367" v="1396" actId="2696"/>
        <pc:sldMkLst>
          <pc:docMk/>
          <pc:sldMk cId="1507229510" sldId="1147"/>
        </pc:sldMkLst>
        <pc:spChg chg="add mod">
          <ac:chgData name="Andreas Trautner" userId="c3555a6ac94177be" providerId="LiveId" clId="{A6B42AF9-D8FF-4A4D-9E59-D0BF6E4FB839}" dt="2020-05-13T14:38:43.882" v="1098"/>
          <ac:spMkLst>
            <pc:docMk/>
            <pc:sldMk cId="1507229510" sldId="1147"/>
            <ac:spMk id="5" creationId="{CC3103FD-BDAE-4BAC-9AD3-B6B71B1CBCFC}"/>
          </ac:spMkLst>
        </pc:spChg>
        <pc:spChg chg="add mod">
          <ac:chgData name="Andreas Trautner" userId="c3555a6ac94177be" providerId="LiveId" clId="{A6B42AF9-D8FF-4A4D-9E59-D0BF6E4FB839}" dt="2020-05-13T14:38:43.882" v="1098"/>
          <ac:spMkLst>
            <pc:docMk/>
            <pc:sldMk cId="1507229510" sldId="1147"/>
            <ac:spMk id="7" creationId="{23478E07-34FA-4B37-B5DD-184EFC90FC96}"/>
          </ac:spMkLst>
        </pc:spChg>
        <pc:picChg chg="add mod">
          <ac:chgData name="Andreas Trautner" userId="c3555a6ac94177be" providerId="LiveId" clId="{A6B42AF9-D8FF-4A4D-9E59-D0BF6E4FB839}" dt="2020-05-13T14:38:43.882" v="1098"/>
          <ac:picMkLst>
            <pc:docMk/>
            <pc:sldMk cId="1507229510" sldId="1147"/>
            <ac:picMk id="4" creationId="{A4F99F24-4856-4489-99BF-4E6BFFAF9877}"/>
          </ac:picMkLst>
        </pc:picChg>
        <pc:picChg chg="add mod">
          <ac:chgData name="Andreas Trautner" userId="c3555a6ac94177be" providerId="LiveId" clId="{A6B42AF9-D8FF-4A4D-9E59-D0BF6E4FB839}" dt="2020-05-13T14:38:43.882" v="1098"/>
          <ac:picMkLst>
            <pc:docMk/>
            <pc:sldMk cId="1507229510" sldId="1147"/>
            <ac:picMk id="6" creationId="{46B6A7E4-B701-4AE5-9B78-EC2131F57143}"/>
          </ac:picMkLst>
        </pc:picChg>
      </pc:sldChg>
      <pc:sldChg chg="addSp modSp add ord">
        <pc:chgData name="Andreas Trautner" userId="c3555a6ac94177be" providerId="LiveId" clId="{A6B42AF9-D8FF-4A4D-9E59-D0BF6E4FB839}" dt="2020-05-13T16:18:25.801" v="1464"/>
        <pc:sldMkLst>
          <pc:docMk/>
          <pc:sldMk cId="3349426537" sldId="1148"/>
        </pc:sldMkLst>
        <pc:picChg chg="add mod">
          <ac:chgData name="Andreas Trautner" userId="c3555a6ac94177be" providerId="LiveId" clId="{A6B42AF9-D8FF-4A4D-9E59-D0BF6E4FB839}" dt="2020-05-13T14:37:59.065" v="1096"/>
          <ac:picMkLst>
            <pc:docMk/>
            <pc:sldMk cId="3349426537" sldId="1148"/>
            <ac:picMk id="4" creationId="{8965D5E3-78E8-4596-9FBC-BEBEE99A86B3}"/>
          </ac:picMkLst>
        </pc:picChg>
      </pc:sldChg>
      <pc:sldChg chg="addSp delSp modSp add mod">
        <pc:chgData name="Andreas Trautner" userId="c3555a6ac94177be" providerId="LiveId" clId="{A6B42AF9-D8FF-4A4D-9E59-D0BF6E4FB839}" dt="2020-05-13T16:59:28.236" v="1791"/>
        <pc:sldMkLst>
          <pc:docMk/>
          <pc:sldMk cId="1299994645" sldId="1149"/>
        </pc:sldMkLst>
        <pc:spChg chg="add del mod">
          <ac:chgData name="Andreas Trautner" userId="c3555a6ac94177be" providerId="LiveId" clId="{A6B42AF9-D8FF-4A4D-9E59-D0BF6E4FB839}" dt="2020-05-13T16:59:19.480" v="1790" actId="478"/>
          <ac:spMkLst>
            <pc:docMk/>
            <pc:sldMk cId="1299994645" sldId="1149"/>
            <ac:spMk id="5" creationId="{D36948A3-581C-4AD2-A3F2-614583416311}"/>
          </ac:spMkLst>
        </pc:spChg>
        <pc:spChg chg="add mod">
          <ac:chgData name="Andreas Trautner" userId="c3555a6ac94177be" providerId="LiveId" clId="{A6B42AF9-D8FF-4A4D-9E59-D0BF6E4FB839}" dt="2020-05-13T16:59:28.236" v="1791"/>
          <ac:spMkLst>
            <pc:docMk/>
            <pc:sldMk cId="1299994645" sldId="1149"/>
            <ac:spMk id="6" creationId="{E267D305-167D-4022-B5DA-35DE6EB0343F}"/>
          </ac:spMkLst>
        </pc:spChg>
        <pc:picChg chg="add mod">
          <ac:chgData name="Andreas Trautner" userId="c3555a6ac94177be" providerId="LiveId" clId="{A6B42AF9-D8FF-4A4D-9E59-D0BF6E4FB839}" dt="2020-05-13T14:39:25.257" v="1100"/>
          <ac:picMkLst>
            <pc:docMk/>
            <pc:sldMk cId="1299994645" sldId="1149"/>
            <ac:picMk id="4" creationId="{4AD0F145-B3AA-4EF7-B3AE-77DA04100F58}"/>
          </ac:picMkLst>
        </pc:picChg>
      </pc:sldChg>
      <pc:sldChg chg="addSp delSp modSp add mod">
        <pc:chgData name="Andreas Trautner" userId="c3555a6ac94177be" providerId="LiveId" clId="{A6B42AF9-D8FF-4A4D-9E59-D0BF6E4FB839}" dt="2020-05-13T16:59:01.533" v="1787"/>
        <pc:sldMkLst>
          <pc:docMk/>
          <pc:sldMk cId="3717310567" sldId="1150"/>
        </pc:sldMkLst>
        <pc:spChg chg="add del">
          <ac:chgData name="Andreas Trautner" userId="c3555a6ac94177be" providerId="LiveId" clId="{A6B42AF9-D8FF-4A4D-9E59-D0BF6E4FB839}" dt="2020-05-13T16:20:15.238" v="1473" actId="11529"/>
          <ac:spMkLst>
            <pc:docMk/>
            <pc:sldMk cId="3717310567" sldId="1150"/>
            <ac:spMk id="5" creationId="{9C1D9099-5005-4A83-8657-1E66C893E6CE}"/>
          </ac:spMkLst>
        </pc:spChg>
        <pc:spChg chg="add mod">
          <ac:chgData name="Andreas Trautner" userId="c3555a6ac94177be" providerId="LiveId" clId="{A6B42AF9-D8FF-4A4D-9E59-D0BF6E4FB839}" dt="2020-05-13T16:20:58.697" v="1482" actId="1076"/>
          <ac:spMkLst>
            <pc:docMk/>
            <pc:sldMk cId="3717310567" sldId="1150"/>
            <ac:spMk id="6" creationId="{005E737C-E6F8-4AFD-B08C-E860BE3072B9}"/>
          </ac:spMkLst>
        </pc:spChg>
        <pc:spChg chg="add del mod">
          <ac:chgData name="Andreas Trautner" userId="c3555a6ac94177be" providerId="LiveId" clId="{A6B42AF9-D8FF-4A4D-9E59-D0BF6E4FB839}" dt="2020-05-13T16:58:14.008" v="1760" actId="478"/>
          <ac:spMkLst>
            <pc:docMk/>
            <pc:sldMk cId="3717310567" sldId="1150"/>
            <ac:spMk id="7" creationId="{B5C5BB05-2E66-4151-B5CA-23FED06492DB}"/>
          </ac:spMkLst>
        </pc:spChg>
        <pc:spChg chg="add del mod">
          <ac:chgData name="Andreas Trautner" userId="c3555a6ac94177be" providerId="LiveId" clId="{A6B42AF9-D8FF-4A4D-9E59-D0BF6E4FB839}" dt="2020-05-13T16:58:35.773" v="1762" actId="478"/>
          <ac:spMkLst>
            <pc:docMk/>
            <pc:sldMk cId="3717310567" sldId="1150"/>
            <ac:spMk id="8" creationId="{2902FB90-F9F2-4308-B829-F3D8BB4D3EE6}"/>
          </ac:spMkLst>
        </pc:spChg>
        <pc:spChg chg="add mod">
          <ac:chgData name="Andreas Trautner" userId="c3555a6ac94177be" providerId="LiveId" clId="{A6B42AF9-D8FF-4A4D-9E59-D0BF6E4FB839}" dt="2020-05-13T16:59:01.533" v="1787"/>
          <ac:spMkLst>
            <pc:docMk/>
            <pc:sldMk cId="3717310567" sldId="1150"/>
            <ac:spMk id="9" creationId="{662C729C-37A9-48ED-B166-2B46DE823B5F}"/>
          </ac:spMkLst>
        </pc:spChg>
        <pc:picChg chg="add mod">
          <ac:chgData name="Andreas Trautner" userId="c3555a6ac94177be" providerId="LiveId" clId="{A6B42AF9-D8FF-4A4D-9E59-D0BF6E4FB839}" dt="2020-05-13T16:20:14.566" v="1472" actId="1076"/>
          <ac:picMkLst>
            <pc:docMk/>
            <pc:sldMk cId="3717310567" sldId="1150"/>
            <ac:picMk id="4" creationId="{3C854054-147D-4966-AEC9-8F2A698E5B4F}"/>
          </ac:picMkLst>
        </pc:picChg>
      </pc:sldChg>
      <pc:sldChg chg="addSp delSp modSp add mod modAnim">
        <pc:chgData name="Andreas Trautner" userId="c3555a6ac94177be" providerId="LiveId" clId="{A6B42AF9-D8FF-4A4D-9E59-D0BF6E4FB839}" dt="2020-05-13T16:22:09.383" v="1488"/>
        <pc:sldMkLst>
          <pc:docMk/>
          <pc:sldMk cId="2832158811" sldId="1151"/>
        </pc:sldMkLst>
        <pc:spChg chg="del">
          <ac:chgData name="Andreas Trautner" userId="c3555a6ac94177be" providerId="LiveId" clId="{A6B42AF9-D8FF-4A4D-9E59-D0BF6E4FB839}" dt="2020-05-13T16:22:07.864" v="1487" actId="478"/>
          <ac:spMkLst>
            <pc:docMk/>
            <pc:sldMk cId="2832158811" sldId="1151"/>
            <ac:spMk id="3" creationId="{0F8F054F-FEFD-4BE2-805C-5415F72DE1DB}"/>
          </ac:spMkLst>
        </pc:spChg>
        <pc:spChg chg="add mod">
          <ac:chgData name="Andreas Trautner" userId="c3555a6ac94177be" providerId="LiveId" clId="{A6B42AF9-D8FF-4A4D-9E59-D0BF6E4FB839}" dt="2020-05-13T15:01:58.692" v="1139" actId="1076"/>
          <ac:spMkLst>
            <pc:docMk/>
            <pc:sldMk cId="2832158811" sldId="1151"/>
            <ac:spMk id="4" creationId="{C4AA87A5-98E0-40CD-BA25-62CF886FA5C7}"/>
          </ac:spMkLst>
        </pc:spChg>
        <pc:spChg chg="add mod">
          <ac:chgData name="Andreas Trautner" userId="c3555a6ac94177be" providerId="LiveId" clId="{A6B42AF9-D8FF-4A4D-9E59-D0BF6E4FB839}" dt="2020-05-13T15:02:57.523" v="1205" actId="1076"/>
          <ac:spMkLst>
            <pc:docMk/>
            <pc:sldMk cId="2832158811" sldId="1151"/>
            <ac:spMk id="5" creationId="{91785288-1AA3-47E2-A1FB-F692B2B276AF}"/>
          </ac:spMkLst>
        </pc:spChg>
        <pc:spChg chg="add mod">
          <ac:chgData name="Andreas Trautner" userId="c3555a6ac94177be" providerId="LiveId" clId="{A6B42AF9-D8FF-4A4D-9E59-D0BF6E4FB839}" dt="2020-05-13T15:03:03.695" v="1206" actId="1076"/>
          <ac:spMkLst>
            <pc:docMk/>
            <pc:sldMk cId="2832158811" sldId="1151"/>
            <ac:spMk id="6" creationId="{241DDB58-B39F-4799-9CC7-CE26AF75BB0F}"/>
          </ac:spMkLst>
        </pc:spChg>
        <pc:spChg chg="add mod">
          <ac:chgData name="Andreas Trautner" userId="c3555a6ac94177be" providerId="LiveId" clId="{A6B42AF9-D8FF-4A4D-9E59-D0BF6E4FB839}" dt="2020-05-13T15:03:54.553" v="1238" actId="404"/>
          <ac:spMkLst>
            <pc:docMk/>
            <pc:sldMk cId="2832158811" sldId="1151"/>
            <ac:spMk id="7" creationId="{805AC8BE-CDD0-4A03-8459-14168567E11D}"/>
          </ac:spMkLst>
        </pc:spChg>
        <pc:spChg chg="add del mod">
          <ac:chgData name="Andreas Trautner" userId="c3555a6ac94177be" providerId="LiveId" clId="{A6B42AF9-D8FF-4A4D-9E59-D0BF6E4FB839}" dt="2020-05-13T16:22:05.540" v="1486"/>
          <ac:spMkLst>
            <pc:docMk/>
            <pc:sldMk cId="2832158811" sldId="1151"/>
            <ac:spMk id="8" creationId="{BC1E1C2E-B299-4FB1-91DD-66001347806A}"/>
          </ac:spMkLst>
        </pc:spChg>
        <pc:spChg chg="add mod">
          <ac:chgData name="Andreas Trautner" userId="c3555a6ac94177be" providerId="LiveId" clId="{A6B42AF9-D8FF-4A4D-9E59-D0BF6E4FB839}" dt="2020-05-13T16:22:09.383" v="1488"/>
          <ac:spMkLst>
            <pc:docMk/>
            <pc:sldMk cId="2832158811" sldId="1151"/>
            <ac:spMk id="9" creationId="{01812D48-0BDB-40ED-858E-2A38D47FD2E7}"/>
          </ac:spMkLst>
        </pc:spChg>
      </pc:sldChg>
      <pc:sldChg chg="addSp modSp add mod ord">
        <pc:chgData name="Andreas Trautner" userId="c3555a6ac94177be" providerId="LiveId" clId="{A6B42AF9-D8FF-4A4D-9E59-D0BF6E4FB839}" dt="2020-05-13T16:57:23.690" v="1731"/>
        <pc:sldMkLst>
          <pc:docMk/>
          <pc:sldMk cId="620622715" sldId="1152"/>
        </pc:sldMkLst>
        <pc:spChg chg="add mod">
          <ac:chgData name="Andreas Trautner" userId="c3555a6ac94177be" providerId="LiveId" clId="{A6B42AF9-D8FF-4A4D-9E59-D0BF6E4FB839}" dt="2020-05-13T16:57:23.690" v="1731"/>
          <ac:spMkLst>
            <pc:docMk/>
            <pc:sldMk cId="620622715" sldId="1152"/>
            <ac:spMk id="5" creationId="{9E609E8F-0F18-414B-B8A1-DABDE0DD5156}"/>
          </ac:spMkLst>
        </pc:spChg>
        <pc:picChg chg="add mod">
          <ac:chgData name="Andreas Trautner" userId="c3555a6ac94177be" providerId="LiveId" clId="{A6B42AF9-D8FF-4A4D-9E59-D0BF6E4FB839}" dt="2020-05-13T16:10:32.378" v="1419" actId="1440"/>
          <ac:picMkLst>
            <pc:docMk/>
            <pc:sldMk cId="620622715" sldId="1152"/>
            <ac:picMk id="4" creationId="{A4BDD285-AF16-4081-939D-4993D000B92F}"/>
          </ac:picMkLst>
        </pc:picChg>
      </pc:sldChg>
      <pc:sldChg chg="addSp delSp modSp add mod delAnim modAnim">
        <pc:chgData name="Andreas Trautner" userId="c3555a6ac94177be" providerId="LiveId" clId="{A6B42AF9-D8FF-4A4D-9E59-D0BF6E4FB839}" dt="2020-05-13T16:22:14.563" v="1490"/>
        <pc:sldMkLst>
          <pc:docMk/>
          <pc:sldMk cId="1779544132" sldId="1153"/>
        </pc:sldMkLst>
        <pc:spChg chg="del">
          <ac:chgData name="Andreas Trautner" userId="c3555a6ac94177be" providerId="LiveId" clId="{A6B42AF9-D8FF-4A4D-9E59-D0BF6E4FB839}" dt="2020-05-13T16:22:12.746" v="1489" actId="478"/>
          <ac:spMkLst>
            <pc:docMk/>
            <pc:sldMk cId="1779544132" sldId="1153"/>
            <ac:spMk id="3" creationId="{0F8F054F-FEFD-4BE2-805C-5415F72DE1DB}"/>
          </ac:spMkLst>
        </pc:spChg>
        <pc:spChg chg="del">
          <ac:chgData name="Andreas Trautner" userId="c3555a6ac94177be" providerId="LiveId" clId="{A6B42AF9-D8FF-4A4D-9E59-D0BF6E4FB839}" dt="2020-05-13T15:03:33.694" v="1210" actId="478"/>
          <ac:spMkLst>
            <pc:docMk/>
            <pc:sldMk cId="1779544132" sldId="1153"/>
            <ac:spMk id="4" creationId="{C4AA87A5-98E0-40CD-BA25-62CF886FA5C7}"/>
          </ac:spMkLst>
        </pc:spChg>
        <pc:spChg chg="del">
          <ac:chgData name="Andreas Trautner" userId="c3555a6ac94177be" providerId="LiveId" clId="{A6B42AF9-D8FF-4A4D-9E59-D0BF6E4FB839}" dt="2020-05-13T15:03:25.053" v="1208" actId="478"/>
          <ac:spMkLst>
            <pc:docMk/>
            <pc:sldMk cId="1779544132" sldId="1153"/>
            <ac:spMk id="5" creationId="{91785288-1AA3-47E2-A1FB-F692B2B276AF}"/>
          </ac:spMkLst>
        </pc:spChg>
        <pc:spChg chg="del">
          <ac:chgData name="Andreas Trautner" userId="c3555a6ac94177be" providerId="LiveId" clId="{A6B42AF9-D8FF-4A4D-9E59-D0BF6E4FB839}" dt="2020-05-13T15:03:26.147" v="1209" actId="478"/>
          <ac:spMkLst>
            <pc:docMk/>
            <pc:sldMk cId="1779544132" sldId="1153"/>
            <ac:spMk id="6" creationId="{241DDB58-B39F-4799-9CC7-CE26AF75BB0F}"/>
          </ac:spMkLst>
        </pc:spChg>
        <pc:spChg chg="mod">
          <ac:chgData name="Andreas Trautner" userId="c3555a6ac94177be" providerId="LiveId" clId="{A6B42AF9-D8FF-4A4D-9E59-D0BF6E4FB839}" dt="2020-05-13T15:09:08.604" v="1369" actId="20577"/>
          <ac:spMkLst>
            <pc:docMk/>
            <pc:sldMk cId="1779544132" sldId="1153"/>
            <ac:spMk id="7" creationId="{805AC8BE-CDD0-4A03-8459-14168567E11D}"/>
          </ac:spMkLst>
        </pc:spChg>
        <pc:spChg chg="add mod">
          <ac:chgData name="Andreas Trautner" userId="c3555a6ac94177be" providerId="LiveId" clId="{A6B42AF9-D8FF-4A4D-9E59-D0BF6E4FB839}" dt="2020-05-13T15:09:35.543" v="1372" actId="20577"/>
          <ac:spMkLst>
            <pc:docMk/>
            <pc:sldMk cId="1779544132" sldId="1153"/>
            <ac:spMk id="8" creationId="{357C60D1-AE93-4B9A-9731-5DAACD0BB6DC}"/>
          </ac:spMkLst>
        </pc:spChg>
        <pc:spChg chg="add mod">
          <ac:chgData name="Andreas Trautner" userId="c3555a6ac94177be" providerId="LiveId" clId="{A6B42AF9-D8FF-4A4D-9E59-D0BF6E4FB839}" dt="2020-05-13T16:22:14.563" v="1490"/>
          <ac:spMkLst>
            <pc:docMk/>
            <pc:sldMk cId="1779544132" sldId="1153"/>
            <ac:spMk id="9" creationId="{B9645449-A398-4762-A7D3-0F304F01DCEA}"/>
          </ac:spMkLst>
        </pc:spChg>
      </pc:sldChg>
      <pc:sldChg chg="addSp modSp add mod ord modAnim">
        <pc:chgData name="Andreas Trautner" userId="c3555a6ac94177be" providerId="LiveId" clId="{A6B42AF9-D8FF-4A4D-9E59-D0BF6E4FB839}" dt="2020-05-13T16:23:18.338" v="1496"/>
        <pc:sldMkLst>
          <pc:docMk/>
          <pc:sldMk cId="3851225282" sldId="1154"/>
        </pc:sldMkLst>
        <pc:spChg chg="add mod">
          <ac:chgData name="Andreas Trautner" userId="c3555a6ac94177be" providerId="LiveId" clId="{A6B42AF9-D8FF-4A4D-9E59-D0BF6E4FB839}" dt="2020-05-13T15:10:03.173" v="1377" actId="20577"/>
          <ac:spMkLst>
            <pc:docMk/>
            <pc:sldMk cId="3851225282" sldId="1154"/>
            <ac:spMk id="5" creationId="{8FD9183B-0DB1-4F9B-952A-6812BC01702C}"/>
          </ac:spMkLst>
        </pc:spChg>
        <pc:spChg chg="mod">
          <ac:chgData name="Andreas Trautner" userId="c3555a6ac94177be" providerId="LiveId" clId="{A6B42AF9-D8FF-4A4D-9E59-D0BF6E4FB839}" dt="2020-05-13T15:09:14.877" v="1371" actId="20577"/>
          <ac:spMkLst>
            <pc:docMk/>
            <pc:sldMk cId="3851225282" sldId="1154"/>
            <ac:spMk id="7" creationId="{805AC8BE-CDD0-4A03-8459-14168567E11D}"/>
          </ac:spMkLst>
        </pc:spChg>
      </pc:sldChg>
      <pc:sldChg chg="addSp delSp modSp add mod delAnim modAnim">
        <pc:chgData name="Andreas Trautner" userId="c3555a6ac94177be" providerId="LiveId" clId="{A6B42AF9-D8FF-4A4D-9E59-D0BF6E4FB839}" dt="2020-05-13T16:57:17.148" v="1730" actId="1076"/>
        <pc:sldMkLst>
          <pc:docMk/>
          <pc:sldMk cId="1089479793" sldId="1155"/>
        </pc:sldMkLst>
        <pc:spChg chg="del">
          <ac:chgData name="Andreas Trautner" userId="c3555a6ac94177be" providerId="LiveId" clId="{A6B42AF9-D8FF-4A4D-9E59-D0BF6E4FB839}" dt="2020-05-13T15:53:01.880" v="1385" actId="478"/>
          <ac:spMkLst>
            <pc:docMk/>
            <pc:sldMk cId="1089479793" sldId="1155"/>
            <ac:spMk id="5" creationId="{CC3103FD-BDAE-4BAC-9AD3-B6B71B1CBCFC}"/>
          </ac:spMkLst>
        </pc:spChg>
        <pc:spChg chg="del">
          <ac:chgData name="Andreas Trautner" userId="c3555a6ac94177be" providerId="LiveId" clId="{A6B42AF9-D8FF-4A4D-9E59-D0BF6E4FB839}" dt="2020-05-13T15:53:00.085" v="1384" actId="478"/>
          <ac:spMkLst>
            <pc:docMk/>
            <pc:sldMk cId="1089479793" sldId="1155"/>
            <ac:spMk id="7" creationId="{23478E07-34FA-4B37-B5DD-184EFC90FC96}"/>
          </ac:spMkLst>
        </pc:spChg>
        <pc:spChg chg="add mod">
          <ac:chgData name="Andreas Trautner" userId="c3555a6ac94177be" providerId="LiveId" clId="{A6B42AF9-D8FF-4A4D-9E59-D0BF6E4FB839}" dt="2020-05-13T16:12:02.254" v="1427" actId="1076"/>
          <ac:spMkLst>
            <pc:docMk/>
            <pc:sldMk cId="1089479793" sldId="1155"/>
            <ac:spMk id="9" creationId="{08FBE62A-738D-4CD6-A78A-BE65786A24A5}"/>
          </ac:spMkLst>
        </pc:spChg>
        <pc:spChg chg="add del mod">
          <ac:chgData name="Andreas Trautner" userId="c3555a6ac94177be" providerId="LiveId" clId="{A6B42AF9-D8FF-4A4D-9E59-D0BF6E4FB839}" dt="2020-05-13T16:11:29.559" v="1421" actId="478"/>
          <ac:spMkLst>
            <pc:docMk/>
            <pc:sldMk cId="1089479793" sldId="1155"/>
            <ac:spMk id="11" creationId="{FEB89882-A2C8-41F4-B1AF-CAC3EA7C27DE}"/>
          </ac:spMkLst>
        </pc:spChg>
        <pc:spChg chg="add mod">
          <ac:chgData name="Andreas Trautner" userId="c3555a6ac94177be" providerId="LiveId" clId="{A6B42AF9-D8FF-4A4D-9E59-D0BF6E4FB839}" dt="2020-05-13T16:11:49.630" v="1426" actId="1076"/>
          <ac:spMkLst>
            <pc:docMk/>
            <pc:sldMk cId="1089479793" sldId="1155"/>
            <ac:spMk id="12" creationId="{6A3ECBF9-6EDD-4B56-9A59-C16E00CFE67A}"/>
          </ac:spMkLst>
        </pc:spChg>
        <pc:spChg chg="add mod">
          <ac:chgData name="Andreas Trautner" userId="c3555a6ac94177be" providerId="LiveId" clId="{A6B42AF9-D8FF-4A4D-9E59-D0BF6E4FB839}" dt="2020-05-13T16:19:02.273" v="1469" actId="1076"/>
          <ac:spMkLst>
            <pc:docMk/>
            <pc:sldMk cId="1089479793" sldId="1155"/>
            <ac:spMk id="13" creationId="{09D1B754-784F-41AA-8905-E77FF1DD0601}"/>
          </ac:spMkLst>
        </pc:spChg>
        <pc:spChg chg="add mod">
          <ac:chgData name="Andreas Trautner" userId="c3555a6ac94177be" providerId="LiveId" clId="{A6B42AF9-D8FF-4A4D-9E59-D0BF6E4FB839}" dt="2020-05-13T16:57:17.148" v="1730" actId="1076"/>
          <ac:spMkLst>
            <pc:docMk/>
            <pc:sldMk cId="1089479793" sldId="1155"/>
            <ac:spMk id="14" creationId="{206AA42C-F797-4BD0-B52A-17D0C4A6B300}"/>
          </ac:spMkLst>
        </pc:spChg>
        <pc:picChg chg="del">
          <ac:chgData name="Andreas Trautner" userId="c3555a6ac94177be" providerId="LiveId" clId="{A6B42AF9-D8FF-4A4D-9E59-D0BF6E4FB839}" dt="2020-05-13T15:52:56.727" v="1382" actId="478"/>
          <ac:picMkLst>
            <pc:docMk/>
            <pc:sldMk cId="1089479793" sldId="1155"/>
            <ac:picMk id="4" creationId="{A4F99F24-4856-4489-99BF-4E6BFFAF9877}"/>
          </ac:picMkLst>
        </pc:picChg>
        <pc:picChg chg="del">
          <ac:chgData name="Andreas Trautner" userId="c3555a6ac94177be" providerId="LiveId" clId="{A6B42AF9-D8FF-4A4D-9E59-D0BF6E4FB839}" dt="2020-05-13T15:52:58.554" v="1383" actId="478"/>
          <ac:picMkLst>
            <pc:docMk/>
            <pc:sldMk cId="1089479793" sldId="1155"/>
            <ac:picMk id="6" creationId="{46B6A7E4-B701-4AE5-9B78-EC2131F57143}"/>
          </ac:picMkLst>
        </pc:picChg>
        <pc:picChg chg="add mod">
          <ac:chgData name="Andreas Trautner" userId="c3555a6ac94177be" providerId="LiveId" clId="{A6B42AF9-D8FF-4A4D-9E59-D0BF6E4FB839}" dt="2020-05-13T16:11:47.294" v="1425" actId="14100"/>
          <ac:picMkLst>
            <pc:docMk/>
            <pc:sldMk cId="1089479793" sldId="1155"/>
            <ac:picMk id="8" creationId="{A988AAE5-14A5-4CDC-9158-6692C2B1EBA2}"/>
          </ac:picMkLst>
        </pc:picChg>
        <pc:picChg chg="add del mod">
          <ac:chgData name="Andreas Trautner" userId="c3555a6ac94177be" providerId="LiveId" clId="{A6B42AF9-D8FF-4A4D-9E59-D0BF6E4FB839}" dt="2020-05-13T16:11:27.313" v="1420" actId="478"/>
          <ac:picMkLst>
            <pc:docMk/>
            <pc:sldMk cId="1089479793" sldId="1155"/>
            <ac:picMk id="10" creationId="{5AA8F404-FE40-4485-BC8B-639216B52DD5}"/>
          </ac:picMkLst>
        </pc:picChg>
      </pc:sldChg>
      <pc:sldChg chg="addSp delSp modSp add mod ord">
        <pc:chgData name="Andreas Trautner" userId="c3555a6ac94177be" providerId="LiveId" clId="{A6B42AF9-D8FF-4A4D-9E59-D0BF6E4FB839}" dt="2020-05-13T16:15:29.157" v="1444" actId="1076"/>
        <pc:sldMkLst>
          <pc:docMk/>
          <pc:sldMk cId="1104494622" sldId="1156"/>
        </pc:sldMkLst>
        <pc:picChg chg="del">
          <ac:chgData name="Andreas Trautner" userId="c3555a6ac94177be" providerId="LiveId" clId="{A6B42AF9-D8FF-4A4D-9E59-D0BF6E4FB839}" dt="2020-05-13T16:14:31.294" v="1429" actId="478"/>
          <ac:picMkLst>
            <pc:docMk/>
            <pc:sldMk cId="1104494622" sldId="1156"/>
            <ac:picMk id="4" creationId="{3C854054-147D-4966-AEC9-8F2A698E5B4F}"/>
          </ac:picMkLst>
        </pc:picChg>
        <pc:picChg chg="add mod">
          <ac:chgData name="Andreas Trautner" userId="c3555a6ac94177be" providerId="LiveId" clId="{A6B42AF9-D8FF-4A4D-9E59-D0BF6E4FB839}" dt="2020-05-13T16:15:29.157" v="1444" actId="1076"/>
          <ac:picMkLst>
            <pc:docMk/>
            <pc:sldMk cId="1104494622" sldId="1156"/>
            <ac:picMk id="5" creationId="{F5F3D845-279A-4F65-8146-7A6FE2DACF6C}"/>
          </ac:picMkLst>
        </pc:picChg>
      </pc:sldChg>
      <pc:sldChg chg="addSp modSp add mod ord">
        <pc:chgData name="Andreas Trautner" userId="c3555a6ac94177be" providerId="LiveId" clId="{A6B42AF9-D8FF-4A4D-9E59-D0BF6E4FB839}" dt="2020-05-13T16:59:08.691" v="1789"/>
        <pc:sldMkLst>
          <pc:docMk/>
          <pc:sldMk cId="3303195273" sldId="1157"/>
        </pc:sldMkLst>
        <pc:spChg chg="add mod">
          <ac:chgData name="Andreas Trautner" userId="c3555a6ac94177be" providerId="LiveId" clId="{A6B42AF9-D8FF-4A4D-9E59-D0BF6E4FB839}" dt="2020-05-13T16:59:08.691" v="1789"/>
          <ac:spMkLst>
            <pc:docMk/>
            <pc:sldMk cId="3303195273" sldId="1157"/>
            <ac:spMk id="5" creationId="{F41C56CD-35A7-4F22-B6F9-536C1296265B}"/>
          </ac:spMkLst>
        </pc:spChg>
        <pc:picChg chg="add mod">
          <ac:chgData name="Andreas Trautner" userId="c3555a6ac94177be" providerId="LiveId" clId="{A6B42AF9-D8FF-4A4D-9E59-D0BF6E4FB839}" dt="2020-05-13T16:16:08.163" v="1453" actId="1440"/>
          <ac:picMkLst>
            <pc:docMk/>
            <pc:sldMk cId="3303195273" sldId="1157"/>
            <ac:picMk id="4" creationId="{652131ED-76BC-4DD2-9951-C7A749E63CCD}"/>
          </ac:picMkLst>
        </pc:picChg>
      </pc:sldChg>
      <pc:sldChg chg="addSp delSp modSp add del mod ord">
        <pc:chgData name="Andreas Trautner" userId="c3555a6ac94177be" providerId="LiveId" clId="{A6B42AF9-D8FF-4A4D-9E59-D0BF6E4FB839}" dt="2020-05-13T16:23:27.151" v="1497" actId="2696"/>
        <pc:sldMkLst>
          <pc:docMk/>
          <pc:sldMk cId="2619197582" sldId="1158"/>
        </pc:sldMkLst>
        <pc:spChg chg="del">
          <ac:chgData name="Andreas Trautner" userId="c3555a6ac94177be" providerId="LiveId" clId="{A6B42AF9-D8FF-4A4D-9E59-D0BF6E4FB839}" dt="2020-05-13T16:22:18.166" v="1491" actId="478"/>
          <ac:spMkLst>
            <pc:docMk/>
            <pc:sldMk cId="2619197582" sldId="1158"/>
            <ac:spMk id="3" creationId="{0F8F054F-FEFD-4BE2-805C-5415F72DE1DB}"/>
          </ac:spMkLst>
        </pc:spChg>
        <pc:spChg chg="add mod">
          <ac:chgData name="Andreas Trautner" userId="c3555a6ac94177be" providerId="LiveId" clId="{A6B42AF9-D8FF-4A4D-9E59-D0BF6E4FB839}" dt="2020-05-13T16:22:19.741" v="1492"/>
          <ac:spMkLst>
            <pc:docMk/>
            <pc:sldMk cId="2619197582" sldId="1158"/>
            <ac:spMk id="5" creationId="{63D5738E-F01B-41E8-A5F5-9DB4CD34CB55}"/>
          </ac:spMkLst>
        </pc:spChg>
        <pc:picChg chg="del">
          <ac:chgData name="Andreas Trautner" userId="c3555a6ac94177be" providerId="LiveId" clId="{A6B42AF9-D8FF-4A4D-9E59-D0BF6E4FB839}" dt="2020-05-13T16:17:30.005" v="1457" actId="478"/>
          <ac:picMkLst>
            <pc:docMk/>
            <pc:sldMk cId="2619197582" sldId="1158"/>
            <ac:picMk id="4" creationId="{652131ED-76BC-4DD2-9951-C7A749E63CCD}"/>
          </ac:picMkLst>
        </pc:picChg>
      </pc:sldChg>
      <pc:sldChg chg="addSp modSp add mod">
        <pc:chgData name="Andreas Trautner" userId="c3555a6ac94177be" providerId="LiveId" clId="{A6B42AF9-D8FF-4A4D-9E59-D0BF6E4FB839}" dt="2020-05-13T16:54:39.006" v="1660" actId="20577"/>
        <pc:sldMkLst>
          <pc:docMk/>
          <pc:sldMk cId="3761865299" sldId="1158"/>
        </pc:sldMkLst>
        <pc:spChg chg="add mod">
          <ac:chgData name="Andreas Trautner" userId="c3555a6ac94177be" providerId="LiveId" clId="{A6B42AF9-D8FF-4A4D-9E59-D0BF6E4FB839}" dt="2020-05-13T16:54:39.006" v="1660" actId="20577"/>
          <ac:spMkLst>
            <pc:docMk/>
            <pc:sldMk cId="3761865299" sldId="1158"/>
            <ac:spMk id="4" creationId="{3E0C2F9F-AFD4-4BFE-85F2-7F0E00CEF958}"/>
          </ac:spMkLst>
        </pc:spChg>
        <pc:spChg chg="add mod">
          <ac:chgData name="Andreas Trautner" userId="c3555a6ac94177be" providerId="LiveId" clId="{A6B42AF9-D8FF-4A4D-9E59-D0BF6E4FB839}" dt="2020-05-13T16:54:16.134" v="1648" actId="20577"/>
          <ac:spMkLst>
            <pc:docMk/>
            <pc:sldMk cId="3761865299" sldId="1158"/>
            <ac:spMk id="5" creationId="{9AEC0B0F-8854-46B9-A859-F27BF7EC5371}"/>
          </ac:spMkLst>
        </pc:spChg>
      </pc:sldChg>
      <pc:sldChg chg="addSp modSp add mod ord">
        <pc:chgData name="Andreas Trautner" userId="c3555a6ac94177be" providerId="LiveId" clId="{A6B42AF9-D8FF-4A4D-9E59-D0BF6E4FB839}" dt="2020-05-13T16:52:27.292" v="1637" actId="1076"/>
        <pc:sldMkLst>
          <pc:docMk/>
          <pc:sldMk cId="1788123406" sldId="1159"/>
        </pc:sldMkLst>
        <pc:spChg chg="ord">
          <ac:chgData name="Andreas Trautner" userId="c3555a6ac94177be" providerId="LiveId" clId="{A6B42AF9-D8FF-4A4D-9E59-D0BF6E4FB839}" dt="2020-05-13T16:52:09.026" v="1632" actId="166"/>
          <ac:spMkLst>
            <pc:docMk/>
            <pc:sldMk cId="1788123406" sldId="1159"/>
            <ac:spMk id="3" creationId="{E2CA5A4C-0530-4C54-AA4D-BE489A60DF3B}"/>
          </ac:spMkLst>
        </pc:spChg>
        <pc:picChg chg="add mod">
          <ac:chgData name="Andreas Trautner" userId="c3555a6ac94177be" providerId="LiveId" clId="{A6B42AF9-D8FF-4A4D-9E59-D0BF6E4FB839}" dt="2020-05-13T16:52:23.330" v="1636" actId="1076"/>
          <ac:picMkLst>
            <pc:docMk/>
            <pc:sldMk cId="1788123406" sldId="1159"/>
            <ac:picMk id="4" creationId="{1F9537CF-6FA2-4EB7-A7FA-9A4D1961D40A}"/>
          </ac:picMkLst>
        </pc:picChg>
        <pc:picChg chg="add mod">
          <ac:chgData name="Andreas Trautner" userId="c3555a6ac94177be" providerId="LiveId" clId="{A6B42AF9-D8FF-4A4D-9E59-D0BF6E4FB839}" dt="2020-05-13T16:52:27.292" v="1637" actId="1076"/>
          <ac:picMkLst>
            <pc:docMk/>
            <pc:sldMk cId="1788123406" sldId="1159"/>
            <ac:picMk id="5" creationId="{96EDBBB3-B080-49B9-8357-F7C78A57FBFD}"/>
          </ac:picMkLst>
        </pc:picChg>
      </pc:sldChg>
      <pc:sldChg chg="addSp delSp modSp add del mod ord">
        <pc:chgData name="Andreas Trautner" userId="c3555a6ac94177be" providerId="LiveId" clId="{A6B42AF9-D8FF-4A4D-9E59-D0BF6E4FB839}" dt="2020-05-13T16:23:29.774" v="1498" actId="2696"/>
        <pc:sldMkLst>
          <pc:docMk/>
          <pc:sldMk cId="3662138984" sldId="1159"/>
        </pc:sldMkLst>
        <pc:spChg chg="del">
          <ac:chgData name="Andreas Trautner" userId="c3555a6ac94177be" providerId="LiveId" clId="{A6B42AF9-D8FF-4A4D-9E59-D0BF6E4FB839}" dt="2020-05-13T16:22:23.491" v="1493" actId="478"/>
          <ac:spMkLst>
            <pc:docMk/>
            <pc:sldMk cId="3662138984" sldId="1159"/>
            <ac:spMk id="3" creationId="{0F8F054F-FEFD-4BE2-805C-5415F72DE1DB}"/>
          </ac:spMkLst>
        </pc:spChg>
        <pc:spChg chg="add mod">
          <ac:chgData name="Andreas Trautner" userId="c3555a6ac94177be" providerId="LiveId" clId="{A6B42AF9-D8FF-4A4D-9E59-D0BF6E4FB839}" dt="2020-05-13T16:22:25.112" v="1494"/>
          <ac:spMkLst>
            <pc:docMk/>
            <pc:sldMk cId="3662138984" sldId="1159"/>
            <ac:spMk id="4" creationId="{25998158-9367-4CF6-A015-2EC422E134A6}"/>
          </ac:spMkLst>
        </pc:spChg>
      </pc:sldChg>
      <pc:sldChg chg="addSp modSp add mod ord">
        <pc:chgData name="Andreas Trautner" userId="c3555a6ac94177be" providerId="LiveId" clId="{A6B42AF9-D8FF-4A4D-9E59-D0BF6E4FB839}" dt="2020-05-13T16:48:04.666" v="1599" actId="1076"/>
        <pc:sldMkLst>
          <pc:docMk/>
          <pc:sldMk cId="3328499265" sldId="1160"/>
        </pc:sldMkLst>
        <pc:picChg chg="add mod">
          <ac:chgData name="Andreas Trautner" userId="c3555a6ac94177be" providerId="LiveId" clId="{A6B42AF9-D8FF-4A4D-9E59-D0BF6E4FB839}" dt="2020-05-13T16:48:04.666" v="1599" actId="1076"/>
          <ac:picMkLst>
            <pc:docMk/>
            <pc:sldMk cId="3328499265" sldId="1160"/>
            <ac:picMk id="4" creationId="{40C506D0-C599-4348-A4F4-94EAA7A17A1C}"/>
          </ac:picMkLst>
        </pc:picChg>
      </pc:sldChg>
      <pc:sldChg chg="add">
        <pc:chgData name="Andreas Trautner" userId="c3555a6ac94177be" providerId="LiveId" clId="{A6B42AF9-D8FF-4A4D-9E59-D0BF6E4FB839}" dt="2020-05-13T16:50:09.644" v="1614"/>
        <pc:sldMkLst>
          <pc:docMk/>
          <pc:sldMk cId="1723431679" sldId="1161"/>
        </pc:sldMkLst>
      </pc:sldChg>
      <pc:sldChg chg="addSp delSp modSp add mod delAnim">
        <pc:chgData name="Andreas Trautner" userId="c3555a6ac94177be" providerId="LiveId" clId="{A6B42AF9-D8FF-4A4D-9E59-D0BF6E4FB839}" dt="2020-05-13T16:51:35.104" v="1630" actId="1076"/>
        <pc:sldMkLst>
          <pc:docMk/>
          <pc:sldMk cId="1860357872" sldId="1162"/>
        </pc:sldMkLst>
        <pc:spChg chg="del">
          <ac:chgData name="Andreas Trautner" userId="c3555a6ac94177be" providerId="LiveId" clId="{A6B42AF9-D8FF-4A4D-9E59-D0BF6E4FB839}" dt="2020-05-13T16:50:53.049" v="1616" actId="478"/>
          <ac:spMkLst>
            <pc:docMk/>
            <pc:sldMk cId="1860357872" sldId="1162"/>
            <ac:spMk id="5" creationId="{8FD9183B-0DB1-4F9B-952A-6812BC01702C}"/>
          </ac:spMkLst>
        </pc:spChg>
        <pc:spChg chg="add mod">
          <ac:chgData name="Andreas Trautner" userId="c3555a6ac94177be" providerId="LiveId" clId="{A6B42AF9-D8FF-4A4D-9E59-D0BF6E4FB839}" dt="2020-05-13T16:51:35.104" v="1630" actId="1076"/>
          <ac:spMkLst>
            <pc:docMk/>
            <pc:sldMk cId="1860357872" sldId="1162"/>
            <ac:spMk id="6" creationId="{D3384D5E-8AF2-481C-8762-137D1FDC3711}"/>
          </ac:spMkLst>
        </pc:spChg>
        <pc:spChg chg="del">
          <ac:chgData name="Andreas Trautner" userId="c3555a6ac94177be" providerId="LiveId" clId="{A6B42AF9-D8FF-4A4D-9E59-D0BF6E4FB839}" dt="2020-05-13T16:50:55.887" v="1617" actId="478"/>
          <ac:spMkLst>
            <pc:docMk/>
            <pc:sldMk cId="1860357872" sldId="1162"/>
            <ac:spMk id="7" creationId="{805AC8BE-CDD0-4A03-8459-14168567E11D}"/>
          </ac:spMkLst>
        </pc:spChg>
      </pc:sldChg>
      <pc:sldMasterChg chg="modSldLayout">
        <pc:chgData name="Andreas Trautner" userId="c3555a6ac94177be" providerId="LiveId" clId="{A6B42AF9-D8FF-4A4D-9E59-D0BF6E4FB839}" dt="2020-05-13T16:56:09.064" v="1708" actId="20577"/>
        <pc:sldMasterMkLst>
          <pc:docMk/>
          <pc:sldMasterMk cId="330074188" sldId="2147483813"/>
        </pc:sldMasterMkLst>
        <pc:sldLayoutChg chg="modSp mod">
          <pc:chgData name="Andreas Trautner" userId="c3555a6ac94177be" providerId="LiveId" clId="{A6B42AF9-D8FF-4A4D-9E59-D0BF6E4FB839}" dt="2020-05-13T16:56:09.064" v="1708" actId="20577"/>
          <pc:sldLayoutMkLst>
            <pc:docMk/>
            <pc:sldMasterMk cId="330074188" sldId="2147483813"/>
            <pc:sldLayoutMk cId="3915050232" sldId="2147483825"/>
          </pc:sldLayoutMkLst>
          <pc:spChg chg="mod">
            <ac:chgData name="Andreas Trautner" userId="c3555a6ac94177be" providerId="LiveId" clId="{A6B42AF9-D8FF-4A4D-9E59-D0BF6E4FB839}" dt="2020-05-13T16:56:09.064" v="1708" actId="20577"/>
            <ac:spMkLst>
              <pc:docMk/>
              <pc:sldMasterMk cId="330074188" sldId="2147483813"/>
              <pc:sldLayoutMk cId="3915050232" sldId="2147483825"/>
              <ac:spMk id="12" creationId="{00000000-0000-0000-0000-000000000000}"/>
            </ac:spMkLst>
          </pc:s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/>
          <a:lstStyle>
            <a:lvl1pPr algn="r">
              <a:defRPr sz="1300"/>
            </a:lvl1pPr>
          </a:lstStyle>
          <a:p>
            <a:fld id="{4F6973B6-8C3F-421F-9C89-329FBA9526FA}" type="datetimeFigureOut">
              <a:rPr lang="de-DE" smtClean="0"/>
              <a:pPr/>
              <a:t>18.06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 anchor="b"/>
          <a:lstStyle>
            <a:lvl1pPr algn="r">
              <a:defRPr sz="1300"/>
            </a:lvl1pPr>
          </a:lstStyle>
          <a:p>
            <a:fld id="{48D4574F-8B1B-45DD-9A52-5C0B4AF76E2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4093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/>
          <a:lstStyle>
            <a:lvl1pPr algn="r">
              <a:defRPr sz="1300"/>
            </a:lvl1pPr>
          </a:lstStyle>
          <a:p>
            <a:fld id="{EF669B6B-F529-4180-A5FD-4892EE53D956}" type="datetimeFigureOut">
              <a:rPr lang="de-DE" smtClean="0"/>
              <a:pPr/>
              <a:t>18.06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18" tIns="46109" rIns="92218" bIns="46109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2218" tIns="46109" rIns="92218" bIns="46109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 anchor="b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2218" tIns="46109" rIns="92218" bIns="46109" rtlCol="0" anchor="b"/>
          <a:lstStyle>
            <a:lvl1pPr algn="r">
              <a:defRPr sz="1300"/>
            </a:lvl1pPr>
          </a:lstStyle>
          <a:p>
            <a:fld id="{D32361D8-426C-408D-BA90-6AD738291C7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5669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361D8-426C-408D-BA90-6AD738291C76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0528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65969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79404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30264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361D8-426C-408D-BA90-6AD738291C76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10628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361D8-426C-408D-BA90-6AD738291C76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9823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5904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361D8-426C-408D-BA90-6AD738291C76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6168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6155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72503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080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221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7789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2361D8-426C-408D-BA90-6AD738291C76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9202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xperte-k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-144693" y="6381328"/>
            <a:ext cx="12336693" cy="50405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  <a:gs pos="53000">
                <a:schemeClr val="bg1">
                  <a:lumMod val="7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16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endPos="0" dir="5400000" sy="-100000" algn="bl" rotWithShape="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0" y="6453336"/>
            <a:ext cx="3119669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75" dirty="0">
                <a:solidFill>
                  <a:schemeClr val="bg1"/>
                </a:solidFill>
              </a:rPr>
              <a:t> © Copyright </a:t>
            </a:r>
            <a:r>
              <a:rPr lang="de-DE" sz="675" baseline="0" dirty="0">
                <a:solidFill>
                  <a:schemeClr val="bg1"/>
                </a:solidFill>
              </a:rPr>
              <a:t> T</a:t>
            </a:r>
            <a:r>
              <a:rPr lang="de-DE" sz="675" dirty="0">
                <a:solidFill>
                  <a:schemeClr val="bg1"/>
                </a:solidFill>
              </a:rPr>
              <a:t>rautner Finanz-Service</a:t>
            </a:r>
          </a:p>
        </p:txBody>
      </p:sp>
      <p:sp>
        <p:nvSpPr>
          <p:cNvPr id="9" name="Titel 6"/>
          <p:cNvSpPr>
            <a:spLocks noGrp="1"/>
          </p:cNvSpPr>
          <p:nvPr userDrawn="1"/>
        </p:nvSpPr>
        <p:spPr>
          <a:xfrm>
            <a:off x="2488704" y="3099958"/>
            <a:ext cx="7214592" cy="6580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50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43342" y="164642"/>
            <a:ext cx="205857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baseline="0" dirty="0">
                <a:solidFill>
                  <a:schemeClr val="bg1">
                    <a:lumMod val="75000"/>
                  </a:schemeClr>
                </a:solidFill>
              </a:rPr>
              <a:t>Betriebliche Krankenversicherung </a:t>
            </a:r>
            <a:endParaRPr lang="de-DE" sz="1050" i="1" dirty="0">
              <a:solidFill>
                <a:srgbClr val="C0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1"/>
          </p:nvPr>
        </p:nvSpPr>
        <p:spPr>
          <a:xfrm>
            <a:off x="9033469" y="6356352"/>
            <a:ext cx="2927019" cy="5016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 Verbindung 29"/>
          <p:cNvCxnSpPr>
            <a:cxnSpLocks/>
          </p:cNvCxnSpPr>
          <p:nvPr userDrawn="1"/>
        </p:nvCxnSpPr>
        <p:spPr>
          <a:xfrm>
            <a:off x="239353" y="548680"/>
            <a:ext cx="1172113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4271797" y="6453341"/>
            <a:ext cx="34563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>
                <a:solidFill>
                  <a:schemeClr val="bg1"/>
                </a:solidFill>
              </a:rPr>
              <a:t>bKV – Mehrwerte für Unternehmen</a:t>
            </a:r>
          </a:p>
        </p:txBody>
      </p:sp>
      <p:sp>
        <p:nvSpPr>
          <p:cNvPr id="91138" name="AutoShape 2" descr="data:image/jpeg;base64,/9j/4AAQSkZJRgABAQAAAQABAAD/2wCEAAkGBw8REhMUEhQSEhIUFxUXFxUUFBgUEhUYFBYiGBYdGhgZHCggGBolHBUUITEhJTUrLi8uGCAzODMuNyk5MSwBCgoKDg0OGxAQGzAkICQ1NC8vNDQ3LCwsNSwsMCwsLCw0LDU0LCwsLDQsLC8tLCwvLCw0LDQsNCwsLC80LCwsLP/AABEIAKMBNAMBEQACEQEDEQH/xAAbAAEAAgMBAQAAAAAAAAAAAAAABgcDBAUBAv/EAEsQAAEDAgMCBwgQBQMFAQAAAAEAAgMEEQUSIQYxByJBUWFxgRMyM1SRk6HSFBYjNEJSU3JzgpKUsbLB0SRiY7O0dKLCFUNEw/AX/8QAGwEBAAIDAQEAAAAAAAAAAAAAAAQFAgMGAQf/xAA+EQACAQMABgYHBwMDBQAAAAAAAQIDBBEFEiExQVETcYGRwdEUIjJhobHwBhUzNFJT4UJy8SM1khYkYsLS/9oADAMBAAIRAxEAPwC8U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GliuKQ0zM8zsovYAAue9x3NYxt3PcfigErGUlFa0nhAiG0GI1s0T33dSRNMZbG0ju7+OB7q8XDGm/eMudNXalqo3pmNS5hRorY3ht+C8X3G3osJtmLCcMikjzvD3OMk9yZZOSd4G53MAFU6Qv7mFzOMZtJM2whFxWw3P+i0/xXedl9dQ/vG7/AHH3mepHkP8AotP8V3nZfXT7xu/3H3jUjyI3tfAIPBGRmamqL2lk1yz0wB1doQHu1HOVe6Fuq1VVekk3hLGe08hTi6sFjY2vmRO7/lJ/Py+upfT1OZ2f3da/truGZ/yk/n5fXTp6nMfd9r+2u4Zn/KT+fl9dOnqcx932v7a7g6olLIW91my91rP+9JfRlLbXNc2zu+0VJnUkqMZZ2/5Ka3tKMtI1abitVLYuH9IzP+Un8/L66jdPU5lz93Wv7a7hmf8AKT+fl9dOnqcx932v7a7jFVySBjyJZwQ1xHu8vIPnr1V6md5jPR9rqv8A01u5G9ik0jqia8k2jowLTSNAHcGHcHW3kntW+5qzjPCZXaIs6FS2U5wTeWa2Z/yk/n5fXUfp6nMs/u+1/bXcMz/lJ/Py+unT1OY+77X9tdwzP+Un8/L66dPU5j7vtf213HzJKWgl0swA1JNRKAB0nOvVWqN4TZ5Kxs4rMoRSRJtmtjKyss+WSppqc63M0oqJR/I1zvc2/wAzhfmbuKnUadTfOXYc3f3dpthb0114+Xm+4tjDaGOCNscYIa0WGZxe49LnOJLj0lSSlNlAEAQBAEAQBAEAQBAEAQBAEAQBAEAQEcxDaTM50VG1s0guHSu96xEGxBcNZHjXiM3Ws4suFX3ukaNqvW2y5Lf/AB9YyZwg5GhTUADzLI501QQQZX2uGne1jRpEzQcVu+1ySdVyF5pCtdP13s5cP56yTCCjuMW0XveTrj/uNXmjvzdPrQqeyz3AfAj6So/yHr3Sf5up1in7KOioJmEBD9vvg/6ap/yKVdFoDdW6l4iH41P+5fNEQU4708Q8CAx8kX0tb+SkUuf5eP1zKK2/3St1L5RMiiF6EBhrfByfMd+Ur1bzCp7D6mbuIeHn+dH/AGI1Iu/xCs0J+TXW/mYFGLYIDNQUc1RJ3KnjMsmlwNGRg8sj9zG+k2NgVupUJVN24g3mkaNqvWeZcuP8FmbLbBQ0xbLUEVFS3VptaGI/02He4fHdc77Zb2VlSoxp7jkLzSFa6frvC4Lh/L95M1tIIQBAEAQBAEAQBAEAQBAEAQBAEAQBAaOK4tBTNDpXWzHKxoBdJI618rGDV7rA6DmWM5xhFyk8JDGSN1MtTWeGvT05/wDHY73V4/rSNOg/psNudzgbLmL/AE43mFvs9/ly6/kSIUeMjahiaxrWsaGsaAGtaAGtA3AAaALnJScnl7Wbz7XgObtF73k64/7jVN0d+bp9aMKnss9wHwI+kqP8h690n+bqdYp+yjoqCZhAQ/b74P8Apqn/ACKVdFoDdW6l4iH49P8AuXzREFOO9PEPAgMZ3RfS1v5KRS5/l4/XMorb/da3Uv8A1MiiF6EBhrfByfMd+Ur1bzCp7D6mbuIeHn+dH/YjUi7/ABCs0J+UXW/ma0kjWglxAA5ToFHSbeEWk5xhFyk8JEp2Z2Hqauz589LT6GxFqmUdAPgW9LuNv0boVOpWnGfcc1facbzC3/5eS8X3FpYVhcFLGI4GNjYNbN5Sd5JOrnHlJ1KnbjnG3J5e1m4h4EAQBAEAQBAEAQBAEAQBAEAQBAEAQEartpHSEx0TWyuBLXzvuaaIjQjQgzPB+C0gAghzmlV17pOjarD2y5Lx5fWwzhByNOkw4McZHufNO64dNJYvsfgtAAEbNBxWgDlNzquPu7+tdSzN7OXD695KjBR3G5ZQzIWQCyA520Q/h5OuP+41TdHfm6fWjCp7LGAeBH0lR/kPXuk/zdTrFP2UdBQTMICIbffB/wBNU/5FKui0BurdS8RD8an/AHL5oiCnHeniHgQGM7ovpa38lIpdT8vH65lFbf7pW6l8omRRC9CAw1vg5PmO/KV6t5hU9h9TOoKCoqaueKnjMsmaMk97FGDBHYyPtZo6NXGxsDZTqtCVSr7jnLHSVG1s0ntll7PPkWRstsJBSkSzEVFSNQ9zbRxH+kw3sd/GN3dIGilU6Uaa2FNd31a6eZvZwXD695L1sIYQBAEAQBAEAQBAEAQBAEAQBAEAQBAEBjqIGSNcx7WvY4Wc1wu1wO8EHeEByW7I4WBYUVGBzCnjt+VY6sXwA9qWGeJUn3eP1U1I8ge+1LDPEqT7vH6qakeQHtSwzxKk+7x+qmpHkB7UsM8SpPu8fqpqR5A9bsphoIIo6QEEEEQR3BBuCOLvBCKMVwAk2Uw1xLnUdIXOJJJgjJJJuSTl1JJJTVT4A+fajhfiVH93j9VNSPID2o4X4lR/d4/VTUjyB9x7LYc3NlpKVuZpa60EYzNJBLTxdRdrTboC9SS3Axe03CvEaL7tF6qYRlry5j2m4V4jRfdovVTCGvLmPabhXiNF92i9VMIa8uZ9u2Twwtaw0dIWNLi1pp48rS+2YgZbAnK2/PlHMvcHmXnOT49puFeI0X3aL1V5hHuvLmPabhXiNF92i9VMIa8uYOxuE+I0X3aL1UwhrS5nYhgYwWY1rRzNAA5uTqC9MTIgCAIAgCAIAgCAIAgCAIDy6A9QBAEB5dAeoAgCAIAgCAIAgCAIAgCAIAgPLoD1AEAQBAEAQBAEAQBAEAQHl0AugPUAQBAeXQBAcKqnmLxYuy5iCRujGfKL2IG7jah28bgtLcs/X18yfTjTUNuM479mf42Nd52KKQujY42JIBuNAekdC2xeUQ6kdWbSMOK4lFTRukldlaO0k8gA5SV5Oagsszt7epXmqdNZf1tK1xfhBqpCRDaBnPYPk7SdB2DtVdUu5v2dh1dtoKhBf6vrPuXma8LscmGZprCOe7oweq9rjqXi6eW1ZNkloyk9WWp8/MxVGMYxT+EkqY+mRt2nqc5pBWLqVob20ZwtNH1/YjF9T29yZY+xtRUy0zJKh2Z8l3DitbZm5vegbwM31lYUHJwzI5bSdOjTuHTorCWzjv4+XYdxbiAVpt1tTM2o7lTyujbELPLTo551I3fBFh1k8yrrivJTxF7jqtE6Npuh0laKbluzy/nyODUbQYmywfPM0ua14uRq14u07txC0urVW9ssYWNlPLjBPDx2reW1gWJNqYI5W/DGo+K4aOHYQVaU5qcVJHGXdvK3rSpvh8uD7jfKzI5XG39dV0s7O5TytZK0uy3uGlps61xu1HpUC5lOEtj3nT6Ho0Lii+kgm4vGTjUGJYzOCYZKiQNNiW20NrrTGdaXstlhWt9HUWlUjFZNkux8eNeRpWX/AHHvNONE/wDj8TWj2vxSB+WR7iRvZNGAe3QOCxVxVi9r7zbLRVjWjmC7Yv8Ayix9lsfZWw5wMr2nK9l75Tv0PKCP/tFYUaqqRycvf2UrSrqN5T2p+41NqtrIqOzQO6TEXDL2DRzuPIOYbysK1dU9m9m7R+i53frN4jz8F9bCATbT4nVPysfJc7o4GkWH1eNbpJUF16s3hPuOkjo2yt460orrl9Y+BlGE45v/AIz7zr5O6XXvR1/f3/yYelaM3ep/x/gwVONYtTaSSVMX0jbg9Re0hy8dStDe2jZTs7C42wjF9X8PYWrgTZvY8PdnF0pYC8mwOZ2pGgA0vbsVnT1tRa28467dPp59EsRzs6kV1tdilbS1UkbKmXJo5ouCQHDde2tjcdVlArznCbSkdRo22tri2jOVNZ3Ps4kv2BfNJTCaaV8rpHOtmOjWtOXQDpBN1KtnJw1pPJSaXVOFfo6cUksd72kmUgqggCAju3WNexaY5Dllk4jCN4+M4dQ9JCj3FTUhs3ss9E2npFday9WO1+C7St2Y/iRY54nmLGFoc64sC++Xy2KgdNVxnLOpdjZKSg4LL3dm8mPBztBJN3WKZ7nyDjtc43JboHDsNj9ZS7Ws5ZjJ7Sj03Ywo6tSmsLc+vevr3E5Uw58j21+0raJjbAPlffI06NAG9zugXGnL6Vor1lTXvLLRujndzeXiK3vwRXzcYxascRG+dx5Ww+5tb2ttbtKg9JWqbs9h0ztLC1inNRX921/XUj6dh2Nx8b+N05pnPPka8kpqV1t295j6Royez1O5L5pHR2PxTEJayOKSabK3M97HizsrRpfM3MOMWrOhOpKootkbSVtaU7WVSEFncmub7cbskt2v2nbRMaA3PM++Vp0aAN7ndGo05VLr1+jXvKTRujndyeXiK3+S+thXzcXxascRG+d3OIfc2t6LttbtKg9JWqbs9h0rtbC0inNRX921vsfgj7dh+OR8b+N7JnPP2WvJKaldbdveeekaMns9TuS+LSOjsbimIS1jIpJpcrQ58jHizsrRYXuMw4zmLZQnUlUSbIuk7a0pWsqkILLwk1zfw3ZLIlo43EktBvv/AJrbsw+F2qwcUzlo1ZxWE/rwM4XpgVVwmYi6SpEV+JC0afzvGYn7Jb6VW3c8z1eR2GgrdQt+l4y+S2fPJvcGeBsfmqZGhxa7LGDqAQAXOtz6gDmsVnaUk/XZG07eSjihB4ysvwRY6nnMHxNE17S1wDmkWIIuCOkLxrOxnsZOLzF4Yija0BrQA1oAAG4AaAIljYJScm297OdtJiopaeSU2zAWYDyvdo0dV9T0ArCrU1IuRKsrZ3NeNPhx6uJUmzuGOrKpjHXcHEvldyloN3k9JJt1uVXSh0k8PtO0vblWtu5x4bF18O7f2Ez4T8IBjjqGjWOzHW+I48XyO0+spd5T2KS4FFoG6xUlRl/VtXWt/evkaHBfi+WR9M48WS72fOaOMB1tF/qlYWdTD1HxJGnrXWgq8d62Pq4Pv2dpZasDlSteFjwtN8yT8zVX3vtI6r7O/h1OteJn4M8RgiimEssUZMgID3tYSMgFxc6he2k4xi8vBr07Qq1KkHCLezgm+JMTj9F4zT+eZ+6l9LD9SKP0K5/bl3PyK34QsWp6maPuJD+5tcHPHeuuQQAeUCx13cZV91UjOS1TqdC2tahSl0qxl7F9bv4OxwZROihqZ33EZtbp7kHF5Hlt2FbrRNRlJ7iDp6SqVadGPtf/AFjBA62rfNI+V+r5HFx6zuA6BoB0AKDKTk8s6OlSjSgqcdy2fXzLm2ZwWOkgaxoGcgGR3K51tewbgFb0qahHBwd9dzuark93Be763nxXbWUEL3RyTBr26OAY91jv3taRdeSr04vDZnR0ZdVYKcIbH70vmzUn2xwp7S18oc07w6GQg9hYsXc0nsb+DN0dE30XmMcPrj5nWwjGaeqDjA8vDCATke0AnW3GAv2LbCpGfskO4tK1u0qqxn3p/LJWfCV7+d9HH+qrrv8AEOr0H+UXW/AnPB77wh65P7jlMtfwkc/pn85Ps+SJGpBVhAEBTO2+Meyap5B9ziuxnMbHjO7T6AFU3FTXn7kd1oq09Ht0n7Utr8F2LxJ5gezLW4eYJBZ8zS555WvcLt+zZvaFNp0MUtV8TnLvSLle9NDdF4XUt/ftKzw6rko6hr7EPheQ9vPY5ZG9ozDyFV0ZOnLPI6uvShdUHHhJbPmmXjTTtka17DdrgHNI3EOFwrlNNZR8/nCUJOMt62Fc8KtK8SwyWOQsLL8gcHE27QfQVAvE9ZM6j7PVI9HOnxznsOZsntb7CY6Mxd0Y52a4dlcDYDmsRxRzLXRuOjWMEvSOivS5KalhpY5oltLwi0Tu/bNH0lgcP9pJ9Ckq8g9+SlqaAuY+y0+3Hz2fEkOGYnS1PHheyQgW079oPIQeM29hv5lvhOE9sWVle3r2/q1ItfLyZAuFSleJ4pde5ujyA8gc1xceokOHkPMoV5F6yfA6P7P1YulKnxTz2NJeHxOfsntcaJjo3RCRjnF1w7K8EgA8liNOhYUbjo1jBJ0jor0uampYaWOaJZS8ItE7v2zR9JYHD/YSfQpKvIPfkpp6AuY+y0+3HzJDhuJ0tTx4XskIFrjv2g62IPGbew0KkQnCe2LyVle3rUPVqRa+XkzoLMjhAU9whU5ZXSk7pBG8dWQM/FhVVcxxVfvO30LUUrOKXDK+OfElvBdWNdTPj+FHISRy5X6g+UOHYpVnJODRS6fpONdT4NfFE0UsoggCAqnhJxju04haeJBv5jIRr9kadZcqy7qa0tVcDsNB2nRUellvl8v539xrbIbRw0IkLonySPI4wIADRuGvSSfIsaFaNPOUbtJaPqXbilJJL5ncruECnmjfG+nkLHtLTx27nC3lW+V3GSaaK+loKrSmpxqLK27mQKjqHxPZIw8djg4Hpab+QqDGTi8o6KrTjUg4S3PYXrhVcyeKOVnevaCOcc4PSDcdiuoSUoqSPnlejKjUlTlvRAOFjwtN8yT8zVBvfaidL9nfw6nWvE42zGyjq5j3tlbFkdlsYy++gN++Ft600aDqJtPBOv8ASkbOSi45ys78eDGP7HVVI0vOWWIb3svdvS5p3DpF+xKlvOCzvQs9LULmWp7MuT8H/g0tnH0fdmiqY57HEDMHlrWEnQuA3t59dOlY0nDW9dbDffK46Ju3lhr3Zb6uT7C4a+hDqeSGMBodE9jQBZozNIFgN29Wso5g4o4ejWca8as3nDTfYyimuIsbG41sd9xyKlPojWdhf1LO2RjXtN2vaHA9BFwrxNNZR82qQcJOEt62EPk4O4ZHOfJPMXvcXOLQxrbuNzYFpIGvOonoaby5P4F5HT1SEVGEFhbFv4dq+REts9n4qJ8TY3vfna5xz5bixAFsoG+58ijV6SptJMutF307uMpTSWMbs/ySzgo97zfTf+tqk2XsPrKb7Q/jQ/t8WRrhK9/O+jj/AFUe7/ELXQf5Rdb8Cc8HvvCHrk/uOUy1/DRz+mfzk+z5IkakFWEBG9vMZ9jUxDTaWW7GW3jTju7B6SFHuampD3stNEWnpFwm16sdr8F2v4FU4VPHFLG+RhkYwh2QG1yNW6817eRVkGlJNnY3EJ1KUoQeG9mSef8A6ZH4u/zg/ZTfTVyOd/6dn+4u4hm0mJR1M7pmMMecDM0kG7gLX0HMG+RRKs1OWslgvbG3nb0VSlLON3VyJ1wY4vnhdTu76LVvSxx/R1+whTbSpmOq+Bz2nrXUqqtHdLf1rzXiTGqpmStLJGtex2ha4Ag9hUtpSWGUcKkqclKDw0Res4PKF+rDLF0NcHN8jwVGlaQe7YW9LT1zDZLEuteWDiYhwbPaCYZw4gd69mW/1gf0WmVm8eqydR+0MW8VIY96fh/JC8Pr5KeRssZIcw35rjlaeg7lEjJwesuBf1qEK8HTnuf1kvWaCOaPK9rXscBdrhcEHXUK5aUlhnzyMp0p5i8NcURis4PKJ+rDLF0NcHN8jwVHlaQe7YW1LT1zH2sS615YOLiHBu9oJhmDyBox7Mt7fzAnXsWmVm17LJ9H7QRbxUhj3p+H8kMwzEH08jJoyQ5hB628rT0EaWUSE3FqSL24oRr03Snuf1kvqN1wDzq7PnLWNh9ICO7Y7NCtjGUhszL5HHvTfe13QdNeRaK9HpFs3lnozSDtJ+tti9/mvraVgW1uHyhxEkDxpmI4jhzX714Vb69KWdx1uba9p6uyS+PmmSCHhIqgONFC484zN9Fyt6vJ42pFZL7PUG9kpLuZoV+3ldLoHsiH9JtneVxJ8llhK6qS2ZwSaOg7Wntacuvd8MfHJKcJx0U2Esme68h7q1mY3L5DK+2/fuuegFSYVdSgpP62lPc2Lr6SlSisLZnHBYRXNA1ss8bZH2EkjQ5xOvHfxjfn1KgR9aSTe86ms3SpSlBeynhdS2Fr+0PDfkneel9ZWXotLl8Wcb993v6l3R8h7Q8N+Sd56X1k9Epcvix993v6l3R8iGcIGBU1G6HuPFEgfdheXG7SNeMSbca3YolzSjTa1S+0Pe1rqM+k24xtxjfw2HR4McdaC6le4cYl8WvL8Nv/ACH1lstKv9D7CJp6ybSuIrdsl4Pw7jV4U6yN1REwOBdGx2bXcXkEA9Nm37QsbySckuRu+z9KcaMptbG9nZ/k6HBRWR5Z4swzlzXgX1ItlNuogeULZZSWGiN9oaU9aFTGzGO0sB7QQQdQdCDuIKnHNptPKKR2rw1lLVSRNIyaOaL6hrxcA9Wo6gFT1oKE3E77R1xK4t41Gtu59a4k44O9pmysFPI4d1YOISdZGDk6XN3dVulTLWupLUe85/TWjnSn08F6r3+5+TNDbTYyTO6embnDjd8Y74OO9zRyg7yN/wCmu4tnnWgSNF6XgoKjXeMbnwxyZwME2qq6L3MWcwHwUoILb77bi3qOnQtNOvOnsLK70Zb3fr7nzXHwZ25OEua2lPGDzmRzh5Mo/FbvTZciAvs7TztqPuXmyK11ZUVspe4OlkNhaNpIaBuADb2Gp8pUWUpVHl7S4pUaNpTUI+qve/jksPgxppI4ZmyMfG7ut7PaWm2RutiNyn2kWovK4nM6eqQqVYODTWODzxZDuECsjkrZMrgQwNYSDpmaNfITbrBUS5knUeC80NSnC0jrLfl9jPvBduJ6WFsLGQua3NYuzZuM4u5HdK9p3UoR1VgxutDUriq6sm8vq6uRuu4Sqrkjp/I8/wDNZemz9xo/6eocZS+HkdTYnGaqtqHyTSDucLL5GgNZmfcAnlNg1+8neFtt6s6k25PYiHpWzoWlGMKcfWk972vC/lrcRXbPHW1dS5zXAxR8SPXQgb3fWPoAUavV1554FzoyydtQSa9Z7X5dnmSjYvZWhqaVksre6PcX3Ike0NyuIDbNcOQA9qk29CE4ZZUaU0ndULl04PCWOCfDOdqO77RMM+Rd52X11u9FpcvmV331e/r+EfI520OxlBHTTPYwxvYxzg4yPIBaL7nOI1tbtWFS2pqDaJNnpe7nXhCTym0sYXHZwRX2z+L+xaiOYG4abOAI4zHaOH69YCgU6mpJSOmvLT0ijKm+O7r4fXvJnt3icsL6apppS1ssZGZpBY8NIc27TodHlS7mbi1OL3lDoi2hVhUoV45cX2rg9u/gaFLwj1TRx44ZOkZmHt1IWEbya3pEmp9n6Dfqya7n5HziHCLVPYWsZHDcWLrl7h1XsAeu6SvJNbFg9o6AoRknKTl7t3mc/ZbZeare0uaW04ILnuBAeBva2/fX3X3Ba6NBze3cSdIaSp20Gk8z4Ll73yJHwhVc9JPDNBI6POwscAbsJjNxdp0Js8+RSLqUoSUosq9C0qVzRnSqxTw8+/b79/A59Lwj1TRZ8cMnSMzD26kLXG8nxWSVU+z9Bv1ZNdz8jHiPCJVSMLWMjhuCM1y9wvzXsAesFeTvJNbNh7Q0BQhJOUnL3bvPwNHZPZaaqkY5zSynaQXOcCA8A963nvuvuHoWNGg5vL3EnSOk6dvBpPM3uXL3vyLiAVqcOeoAgPl7A4WIBHMdQmMnqbTyjTODUhN+4QX5+5Mv+Cw6OHJG/wBLrpY15d7NmKmjb3rWt+a0D8FkopbjTKcpb22H00bt7Wm197QbX3phBTktzPg0MPycf2G/smquRl01T9T72bC9NYQGKSmjcbua1x5y0E+leNJmUZyjubR8to4gbhjARyhouPQmquR66s2sOT7waKI6ljCTy5Rf8E1VyPVVmv6n3hlJECCGMBG4hoB8tk1VyPHUm1htmdemBgdSREkljCTvJaCfwXmqjNVJpYTYFHECCGMBG4hov+Caq5HrqzezWfeZ16azWqsPgl8JHHJ89jXfiFjKEZb1k2U61Sn7EmuptGszZ+hBuKamB6IWeqsVRpr+ldxud9cvY6ku9m/HE1os0Bo5gAB6FmkluI0pOTy3k+rL08MHsGH5OP7Df2XmquRs6Wp+p97HsKH5OP7Df2TVXIdNU/U+9j2FD8nH9hv7JqrkOmqfqfez6ZSxi9mtF9DZoFx0phGLnJ72zz2JF8Rn2R+yaq5HvSz/AFMyRxNb3oDeoAfgiWDFyct7Ptenh8yMDhYgEcx1CYyeptbUY/YkXxGfZH7LzVXIy6Wf6mePpIyACxhA3AtBAvvtpomquQVSaeU2asmBUTu+p6d3XEw/osHSg98Ubo3tzHdUl3s9hwOjYbsp6dp52xMB8oCKlBbooTvLiaxKpJ9rN8BbCMY5qdj7ZmtdbdmANr7968aT3mUZyj7LwacmBUTu+p6c9cLD+iwdKD3xRvV7cx3VJd7PYMDo2G7KeBh52xMB8oCKlBbUkJ3lxNYlUk11s3wFsIx6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/9k="/>
          <p:cNvSpPr>
            <a:spLocks noChangeAspect="1" noChangeArrowheads="1"/>
          </p:cNvSpPr>
          <p:nvPr userDrawn="1"/>
        </p:nvSpPr>
        <p:spPr bwMode="auto">
          <a:xfrm>
            <a:off x="84667" y="-999066"/>
            <a:ext cx="3911600" cy="2070100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de-DE" sz="135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7"/>
            <a:ext cx="7315200" cy="567267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874"/>
            <a:ext cx="7315200" cy="8043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3E18A-9052-42F7-9B3C-C38E44AD69E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412ED6-C6BC-4738-9CF6-1D31032A7EA0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5174"/>
            <a:ext cx="2743200" cy="585046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5174"/>
            <a:ext cx="8026400" cy="5850467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0DA9AC-588D-4249-B92C-80B25E3D855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1492"/>
            <a:ext cx="10363200" cy="146896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40C660-0D10-46F5-A8BF-CEB37E096553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57935B-3119-41E8-B881-D0CFB77D34AE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7"/>
            <a:ext cx="10363200" cy="1363133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774EB-7C50-4C50-A05B-4B023E37F8FC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A4F61-3DBD-4494-9067-414C5891ACDB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4585"/>
            <a:ext cx="5386917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3" y="1534585"/>
            <a:ext cx="5389033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3" y="2175934"/>
            <a:ext cx="5389033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4ABFCA-B30E-401A-B3FF-CAEDA4C75325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18CCF-0CA0-4674-B502-B871702341C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868D0C-4881-4B13-A68C-57CA6CE06CFE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1492"/>
            <a:ext cx="10363200" cy="146896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593C43-063F-4CA2-9FEA-CAF0EB7858B9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9"/>
            <a:ext cx="4011084" cy="116204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258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05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6A577-2DF5-406F-9B7D-C0728FB1789F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7"/>
            <a:ext cx="7315200" cy="567267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874"/>
            <a:ext cx="7315200" cy="8043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F72AD-CF59-47BB-A952-88A4C4885FC7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8FADE1-0B42-49AA-BA3A-BECC76DF6E75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5174"/>
            <a:ext cx="2743200" cy="585046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5174"/>
            <a:ext cx="8026400" cy="5850467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993D7-BE47-4D70-970A-C3262CC3DB2C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1492"/>
            <a:ext cx="10363200" cy="146896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F337CE-EBAA-4716-836D-20CA122ED218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D67DE7-481B-485A-AF03-E9C7544AA40F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7"/>
            <a:ext cx="10363200" cy="1363133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26E53A-854A-40CB-BA99-4B5CF8F52B6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F6F1B6-6DCF-4AA5-99B1-F008E2BF31B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4585"/>
            <a:ext cx="5386917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3" y="1534585"/>
            <a:ext cx="5389033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3" y="2175934"/>
            <a:ext cx="5389033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088E1A-C231-4AB1-B2A8-B882C0A9F85E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2E8B3F-62C7-48DB-AC9B-33196FDFAE1A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64F336-96E1-46D4-8C39-56F655247ABD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990324-CD09-42B4-8F00-411DAB19936A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9"/>
            <a:ext cx="4011084" cy="116204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258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05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CDFDC-C6A3-4B8A-ACD8-7E46AA49BDD0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7"/>
            <a:ext cx="7315200" cy="567267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874"/>
            <a:ext cx="7315200" cy="8043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3C49D-0652-43C2-BE1E-8464D41F3022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3FB2B-DE6D-4A91-B7AE-20BB040C885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5174"/>
            <a:ext cx="2743200" cy="585046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5174"/>
            <a:ext cx="8026400" cy="5850467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70D16-E277-47DC-8380-D9910CC693F3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xperte-k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-144693" y="6381328"/>
            <a:ext cx="12336693" cy="504056"/>
          </a:xfrm>
          <a:prstGeom prst="rect">
            <a:avLst/>
          </a:prstGeom>
          <a:gradFill flip="none" rotWithShape="1">
            <a:gsLst>
              <a:gs pos="0">
                <a:srgbClr val="FF0000">
                  <a:lumMod val="71000"/>
                </a:srgbClr>
              </a:gs>
              <a:gs pos="59000">
                <a:srgbClr val="C9E828">
                  <a:lumMod val="89000"/>
                </a:srgbClr>
              </a:gs>
              <a:gs pos="100000">
                <a:srgbClr val="6CBD09"/>
              </a:gs>
              <a:gs pos="0">
                <a:srgbClr val="FF0000"/>
              </a:gs>
              <a:gs pos="17000">
                <a:srgbClr val="FFFF00">
                  <a:lumMod val="92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16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endPos="0" dir="5400000" sy="-100000" algn="bl" rotWithShape="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350" dirty="0">
              <a:solidFill>
                <a:prstClr val="black"/>
              </a:solidFill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0" y="6453339"/>
            <a:ext cx="2927648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88" dirty="0">
                <a:solidFill>
                  <a:prstClr val="white"/>
                </a:solidFill>
              </a:rPr>
              <a:t> © Copyright  Trautner FinanzService</a:t>
            </a:r>
          </a:p>
        </p:txBody>
      </p:sp>
      <p:sp>
        <p:nvSpPr>
          <p:cNvPr id="9" name="Titel 6"/>
          <p:cNvSpPr>
            <a:spLocks noGrp="1"/>
          </p:cNvSpPr>
          <p:nvPr userDrawn="1"/>
        </p:nvSpPr>
        <p:spPr>
          <a:xfrm>
            <a:off x="2488704" y="3099958"/>
            <a:ext cx="7214592" cy="6580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5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1" name="Textfeld 10"/>
          <p:cNvSpPr txBox="1"/>
          <p:nvPr userDrawn="1"/>
        </p:nvSpPr>
        <p:spPr>
          <a:xfrm>
            <a:off x="143342" y="164642"/>
            <a:ext cx="202811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>
                <a:solidFill>
                  <a:prstClr val="white">
                    <a:lumMod val="75000"/>
                  </a:prstClr>
                </a:solidFill>
              </a:rPr>
              <a:t>Betriebliche Krankenversicherung</a:t>
            </a:r>
            <a:endParaRPr lang="de-DE" sz="1050" i="1" dirty="0">
              <a:solidFill>
                <a:srgbClr val="C00000"/>
              </a:solidFill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1"/>
          </p:nvPr>
        </p:nvSpPr>
        <p:spPr>
          <a:xfrm>
            <a:off x="8737601" y="6356352"/>
            <a:ext cx="2927019" cy="5016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FBBF8E-263D-497E-8C98-042049DB03ED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239349" y="548680"/>
            <a:ext cx="1017713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4751851" y="6453341"/>
            <a:ext cx="25922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err="1">
                <a:solidFill>
                  <a:prstClr val="white"/>
                </a:solidFill>
              </a:rPr>
              <a:t>bKV</a:t>
            </a:r>
            <a:endParaRPr lang="de-DE" sz="900" dirty="0">
              <a:solidFill>
                <a:prstClr val="white"/>
              </a:solidFill>
            </a:endParaRPr>
          </a:p>
        </p:txBody>
      </p:sp>
      <p:sp>
        <p:nvSpPr>
          <p:cNvPr id="91138" name="AutoShape 2" descr="data:image/jpeg;base64,/9j/4AAQSkZJRgABAQAAAQABAAD/2wCEAAkGBw8REhMUEhQSEhIUFxUXFxUUFBgUEhUYFBYiGBYdGhgZHCggGBolHBUUITEhJTUrLi8uGCAzODMuNyk5MSwBCgoKDg0OGxAQGzAkICQ1NC8vNDQ3LCwsNSwsMCwsLCw0LDU0LCwsLDQsLC8tLCwvLCw0LDQsNCwsLC80LCwsLP/AABEIAKMBNAMBEQACEQEDEQH/xAAbAAEAAgMBAQAAAAAAAAAAAAAABgcDBAUBAv/EAEsQAAEDAgMCBwgQBQMFAQAAAAEAAgMEEQUSIQYxByJBUWFxgRMyM1SRk6HSFBYjNEJSU3JzgpKUsbLB0SRiY7O0dKLCFUNEw/AX/8QAGwEBAAIDAQEAAAAAAAAAAAAAAAQFAgMGAQf/xAA+EQACAQMABgYHBwMDBQAAAAAAAQIDBBEFEiExQVETcYGRwdEUIjJhobHwBhUzNFJT4UJy8SM1khYkYsLS/9oADAMBAAIRAxEAPwC8U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GliuKQ0zM8zsovYAAue9x3NYxt3PcfigErGUlFa0nhAiG0GI1s0T33dSRNMZbG0ju7+OB7q8XDGm/eMudNXalqo3pmNS5hRorY3ht+C8X3G3osJtmLCcMikjzvD3OMk9yZZOSd4G53MAFU6Qv7mFzOMZtJM2whFxWw3P+i0/xXedl9dQ/vG7/AHH3mepHkP8AotP8V3nZfXT7xu/3H3jUjyI3tfAIPBGRmamqL2lk1yz0wB1doQHu1HOVe6Fuq1VVekk3hLGe08hTi6sFjY2vmRO7/lJ/Py+upfT1OZ2f3da/truGZ/yk/n5fXTp6nMfd9r+2u4Zn/KT+fl9dOnqcx932v7a7g6olLIW91my91rP+9JfRlLbXNc2zu+0VJnUkqMZZ2/5Ka3tKMtI1abitVLYuH9IzP+Un8/L66jdPU5lz93Wv7a7hmf8AKT+fl9dOnqcx932v7a7jFVySBjyJZwQ1xHu8vIPnr1V6md5jPR9rqv8A01u5G9ik0jqia8k2jowLTSNAHcGHcHW3kntW+5qzjPCZXaIs6FS2U5wTeWa2Z/yk/n5fXUfp6nMs/u+1/bXcMz/lJ/Py+unT1OY+77X9tdwzP+Un8/L66dPU5j7vtf213HzJKWgl0swA1JNRKAB0nOvVWqN4TZ5Kxs4rMoRSRJtmtjKyss+WSppqc63M0oqJR/I1zvc2/wAzhfmbuKnUadTfOXYc3f3dpthb0114+Xm+4tjDaGOCNscYIa0WGZxe49LnOJLj0lSSlNlAEAQBAEAQBAEAQBAEAQBAEAQBAEAQEcxDaTM50VG1s0guHSu96xEGxBcNZHjXiM3Ws4suFX3ukaNqvW2y5Lf/AB9YyZwg5GhTUADzLI501QQQZX2uGne1jRpEzQcVu+1ySdVyF5pCtdP13s5cP56yTCCjuMW0XveTrj/uNXmjvzdPrQqeyz3AfAj6So/yHr3Sf5up1in7KOioJmEBD9vvg/6ap/yKVdFoDdW6l4iH41P+5fNEQU4708Q8CAx8kX0tb+SkUuf5eP1zKK2/3St1L5RMiiF6EBhrfByfMd+Ur1bzCp7D6mbuIeHn+dH/AGI1Iu/xCs0J+TXW/mYFGLYIDNQUc1RJ3KnjMsmlwNGRg8sj9zG+k2NgVupUJVN24g3mkaNqvWeZcuP8FmbLbBQ0xbLUEVFS3VptaGI/02He4fHdc77Zb2VlSoxp7jkLzSFa6frvC4Lh/L95M1tIIQBAEAQBAEAQBAEAQBAEAQBAEAQBAaOK4tBTNDpXWzHKxoBdJI618rGDV7rA6DmWM5xhFyk8JDGSN1MtTWeGvT05/wDHY73V4/rSNOg/psNudzgbLmL/AE43mFvs9/ly6/kSIUeMjahiaxrWsaGsaAGtaAGtA3AAaALnJScnl7Wbz7XgObtF73k64/7jVN0d+bp9aMKnss9wHwI+kqP8h690n+bqdYp+yjoqCZhAQ/b74P8Apqn/ACKVdFoDdW6l4iH49P8AuXzREFOO9PEPAgMZ3RfS1v5KRS5/l4/XMorb/da3Uv8A1MiiF6EBhrfByfMd+Ur1bzCp7D6mbuIeHn+dH/YjUi7/ABCs0J+UXW/ma0kjWglxAA5ToFHSbeEWk5xhFyk8JEp2Z2Hqauz589LT6GxFqmUdAPgW9LuNv0boVOpWnGfcc1facbzC3/5eS8X3FpYVhcFLGI4GNjYNbN5Sd5JOrnHlJ1KnbjnG3J5e1m4h4EAQBAEAQBAEAQBAEAQBAEAQBAEAQEartpHSEx0TWyuBLXzvuaaIjQjQgzPB+C0gAghzmlV17pOjarD2y5Lx5fWwzhByNOkw4McZHufNO64dNJYvsfgtAAEbNBxWgDlNzquPu7+tdSzN7OXD695KjBR3G5ZQzIWQCyA520Q/h5OuP+41TdHfm6fWjCp7LGAeBH0lR/kPXuk/zdTrFP2UdBQTMICIbffB/wBNU/5FKui0BurdS8RD8an/AHL5oiCnHeniHgQGM7ovpa38lIpdT8vH65lFbf7pW6l8omRRC9CAw1vg5PmO/KV6t5hU9h9TOoKCoqaueKnjMsmaMk97FGDBHYyPtZo6NXGxsDZTqtCVSr7jnLHSVG1s0ntll7PPkWRstsJBSkSzEVFSNQ9zbRxH+kw3sd/GN3dIGilU6Uaa2FNd31a6eZvZwXD695L1sIYQBAEAQBAEAQBAEAQBAEAQBAEAQBAEBjqIGSNcx7WvY4Wc1wu1wO8EHeEByW7I4WBYUVGBzCnjt+VY6sXwA9qWGeJUn3eP1U1I8ge+1LDPEqT7vH6qakeQHtSwzxKk+7x+qmpHkB7UsM8SpPu8fqpqR5A9bsphoIIo6QEEEEQR3BBuCOLvBCKMVwAk2Uw1xLnUdIXOJJJgjJJJuSTl1JJJTVT4A+fajhfiVH93j9VNSPID2o4X4lR/d4/VTUjyB9x7LYc3NlpKVuZpa60EYzNJBLTxdRdrTboC9SS3Axe03CvEaL7tF6qYRlry5j2m4V4jRfdovVTCGvLmPabhXiNF92i9VMIa8uZ9u2Twwtaw0dIWNLi1pp48rS+2YgZbAnK2/PlHMvcHmXnOT49puFeI0X3aL1V5hHuvLmPabhXiNF92i9VMIa8uYOxuE+I0X3aL1UwhrS5nYhgYwWY1rRzNAA5uTqC9MTIgCAIAgCAIAgCAIAgCAIDy6A9QBAEB5dAeoAgCAIAgCAIAgCAIAgCAIAgPLoD1AEAQBAEAQBAEAQBAEAQHl0AugPUAQBAeXQBAcKqnmLxYuy5iCRujGfKL2IG7jah28bgtLcs/X18yfTjTUNuM479mf42Nd52KKQujY42JIBuNAekdC2xeUQ6kdWbSMOK4lFTRukldlaO0k8gA5SV5Oagsszt7epXmqdNZf1tK1xfhBqpCRDaBnPYPk7SdB2DtVdUu5v2dh1dtoKhBf6vrPuXma8LscmGZprCOe7oweq9rjqXi6eW1ZNkloyk9WWp8/MxVGMYxT+EkqY+mRt2nqc5pBWLqVob20ZwtNH1/YjF9T29yZY+xtRUy0zJKh2Z8l3DitbZm5vegbwM31lYUHJwzI5bSdOjTuHTorCWzjv4+XYdxbiAVpt1tTM2o7lTyujbELPLTo551I3fBFh1k8yrrivJTxF7jqtE6Npuh0laKbluzy/nyODUbQYmywfPM0ua14uRq14u07txC0urVW9ssYWNlPLjBPDx2reW1gWJNqYI5W/DGo+K4aOHYQVaU5qcVJHGXdvK3rSpvh8uD7jfKzI5XG39dV0s7O5TytZK0uy3uGlps61xu1HpUC5lOEtj3nT6Ho0Lii+kgm4vGTjUGJYzOCYZKiQNNiW20NrrTGdaXstlhWt9HUWlUjFZNkux8eNeRpWX/AHHvNONE/wDj8TWj2vxSB+WR7iRvZNGAe3QOCxVxVi9r7zbLRVjWjmC7Yv8Ayix9lsfZWw5wMr2nK9l75Tv0PKCP/tFYUaqqRycvf2UrSrqN5T2p+41NqtrIqOzQO6TEXDL2DRzuPIOYbysK1dU9m9m7R+i53frN4jz8F9bCATbT4nVPysfJc7o4GkWH1eNbpJUF16s3hPuOkjo2yt460orrl9Y+BlGE45v/AIz7zr5O6XXvR1/f3/yYelaM3ep/x/gwVONYtTaSSVMX0jbg9Re0hy8dStDe2jZTs7C42wjF9X8PYWrgTZvY8PdnF0pYC8mwOZ2pGgA0vbsVnT1tRa28467dPp59EsRzs6kV1tdilbS1UkbKmXJo5ouCQHDde2tjcdVlArznCbSkdRo22tri2jOVNZ3Ps4kv2BfNJTCaaV8rpHOtmOjWtOXQDpBN1KtnJw1pPJSaXVOFfo6cUksd72kmUgqggCAju3WNexaY5Dllk4jCN4+M4dQ9JCj3FTUhs3ss9E2npFday9WO1+C7St2Y/iRY54nmLGFoc64sC++Xy2KgdNVxnLOpdjZKSg4LL3dm8mPBztBJN3WKZ7nyDjtc43JboHDsNj9ZS7Ws5ZjJ7Sj03Ywo6tSmsLc+vevr3E5Uw58j21+0raJjbAPlffI06NAG9zugXGnL6Vor1lTXvLLRujndzeXiK3vwRXzcYxascRG+dx5Ww+5tb2ttbtKg9JWqbs9h0ztLC1inNRX921/XUj6dh2Nx8b+N05pnPPka8kpqV1t295j6Royez1O5L5pHR2PxTEJayOKSabK3M97HizsrRpfM3MOMWrOhOpKootkbSVtaU7WVSEFncmub7cbskt2v2nbRMaA3PM++Vp0aAN7ndGo05VLr1+jXvKTRujndyeXiK3+S+thXzcXxascRG+d3OIfc2t6LttbtKg9JWqbs9h0rtbC0inNRX921vsfgj7dh+OR8b+N7JnPP2WvJKaldbdveeekaMns9TuS+LSOjsbimIS1jIpJpcrQ58jHizsrRYXuMw4zmLZQnUlUSbIuk7a0pWsqkILLwk1zfw3ZLIlo43EktBvv/AJrbsw+F2qwcUzlo1ZxWE/rwM4XpgVVwmYi6SpEV+JC0afzvGYn7Jb6VW3c8z1eR2GgrdQt+l4y+S2fPJvcGeBsfmqZGhxa7LGDqAQAXOtz6gDmsVnaUk/XZG07eSjihB4ysvwRY6nnMHxNE17S1wDmkWIIuCOkLxrOxnsZOLzF4Yija0BrQA1oAAG4AaAIljYJScm297OdtJiopaeSU2zAWYDyvdo0dV9T0ArCrU1IuRKsrZ3NeNPhx6uJUmzuGOrKpjHXcHEvldyloN3k9JJt1uVXSh0k8PtO0vblWtu5x4bF18O7f2Ez4T8IBjjqGjWOzHW+I48XyO0+spd5T2KS4FFoG6xUlRl/VtXWt/evkaHBfi+WR9M48WS72fOaOMB1tF/qlYWdTD1HxJGnrXWgq8d62Pq4Pv2dpZasDlSteFjwtN8yT8zVX3vtI6r7O/h1OteJn4M8RgiimEssUZMgID3tYSMgFxc6he2k4xi8vBr07Qq1KkHCLezgm+JMTj9F4zT+eZ+6l9LD9SKP0K5/bl3PyK34QsWp6maPuJD+5tcHPHeuuQQAeUCx13cZV91UjOS1TqdC2tahSl0qxl7F9bv4OxwZROihqZ33EZtbp7kHF5Hlt2FbrRNRlJ7iDp6SqVadGPtf/AFjBA62rfNI+V+r5HFx6zuA6BoB0AKDKTk8s6OlSjSgqcdy2fXzLm2ZwWOkgaxoGcgGR3K51tewbgFb0qahHBwd9dzuark93Be763nxXbWUEL3RyTBr26OAY91jv3taRdeSr04vDZnR0ZdVYKcIbH70vmzUn2xwp7S18oc07w6GQg9hYsXc0nsb+DN0dE30XmMcPrj5nWwjGaeqDjA8vDCATke0AnW3GAv2LbCpGfskO4tK1u0qqxn3p/LJWfCV7+d9HH+qrrv8AEOr0H+UXW/AnPB77wh65P7jlMtfwkc/pn85Ps+SJGpBVhAEBTO2+Meyap5B9ziuxnMbHjO7T6AFU3FTXn7kd1oq09Ht0n7Utr8F2LxJ5gezLW4eYJBZ8zS555WvcLt+zZvaFNp0MUtV8TnLvSLle9NDdF4XUt/ftKzw6rko6hr7EPheQ9vPY5ZG9ozDyFV0ZOnLPI6uvShdUHHhJbPmmXjTTtka17DdrgHNI3EOFwrlNNZR8/nCUJOMt62Fc8KtK8SwyWOQsLL8gcHE27QfQVAvE9ZM6j7PVI9HOnxznsOZsntb7CY6Mxd0Y52a4dlcDYDmsRxRzLXRuOjWMEvSOivS5KalhpY5oltLwi0Tu/bNH0lgcP9pJ9Ckq8g9+SlqaAuY+y0+3Hz2fEkOGYnS1PHheyQgW079oPIQeM29hv5lvhOE9sWVle3r2/q1ItfLyZAuFSleJ4pde5ujyA8gc1xceokOHkPMoV5F6yfA6P7P1YulKnxTz2NJeHxOfsntcaJjo3RCRjnF1w7K8EgA8liNOhYUbjo1jBJ0jor0uampYaWOaJZS8ItE7v2zR9JYHD/YSfQpKvIPfkpp6AuY+y0+3HzJDhuJ0tTx4XskIFrjv2g62IPGbew0KkQnCe2LyVle3rUPVqRa+XkzoLMjhAU9whU5ZXSk7pBG8dWQM/FhVVcxxVfvO30LUUrOKXDK+OfElvBdWNdTPj+FHISRy5X6g+UOHYpVnJODRS6fpONdT4NfFE0UsoggCAqnhJxju04haeJBv5jIRr9kadZcqy7qa0tVcDsNB2nRUellvl8v539xrbIbRw0IkLonySPI4wIADRuGvSSfIsaFaNPOUbtJaPqXbilJJL5ncruECnmjfG+nkLHtLTx27nC3lW+V3GSaaK+loKrSmpxqLK27mQKjqHxPZIw8djg4Hpab+QqDGTi8o6KrTjUg4S3PYXrhVcyeKOVnevaCOcc4PSDcdiuoSUoqSPnlejKjUlTlvRAOFjwtN8yT8zVBvfaidL9nfw6nWvE42zGyjq5j3tlbFkdlsYy++gN++Ft600aDqJtPBOv8ASkbOSi45ys78eDGP7HVVI0vOWWIb3svdvS5p3DpF+xKlvOCzvQs9LULmWp7MuT8H/g0tnH0fdmiqY57HEDMHlrWEnQuA3t59dOlY0nDW9dbDffK46Ju3lhr3Zb6uT7C4a+hDqeSGMBodE9jQBZozNIFgN29Wso5g4o4ejWca8as3nDTfYyimuIsbG41sd9xyKlPojWdhf1LO2RjXtN2vaHA9BFwrxNNZR82qQcJOEt62EPk4O4ZHOfJPMXvcXOLQxrbuNzYFpIGvOonoaby5P4F5HT1SEVGEFhbFv4dq+REts9n4qJ8TY3vfna5xz5bixAFsoG+58ijV6SptJMutF307uMpTSWMbs/ySzgo97zfTf+tqk2XsPrKb7Q/jQ/t8WRrhK9/O+jj/AFUe7/ELXQf5Rdb8Cc8HvvCHrk/uOUy1/DRz+mfzk+z5IkakFWEBG9vMZ9jUxDTaWW7GW3jTju7B6SFHuampD3stNEWnpFwm16sdr8F2v4FU4VPHFLG+RhkYwh2QG1yNW6817eRVkGlJNnY3EJ1KUoQeG9mSef8A6ZH4u/zg/ZTfTVyOd/6dn+4u4hm0mJR1M7pmMMecDM0kG7gLX0HMG+RRKs1OWslgvbG3nb0VSlLON3VyJ1wY4vnhdTu76LVvSxx/R1+whTbSpmOq+Bz2nrXUqqtHdLf1rzXiTGqpmStLJGtex2ha4Ag9hUtpSWGUcKkqclKDw0Res4PKF+rDLF0NcHN8jwVGlaQe7YW9LT1zDZLEuteWDiYhwbPaCYZw4gd69mW/1gf0WmVm8eqydR+0MW8VIY96fh/JC8Pr5KeRssZIcw35rjlaeg7lEjJwesuBf1qEK8HTnuf1kvWaCOaPK9rXscBdrhcEHXUK5aUlhnzyMp0p5i8NcURis4PKJ+rDLF0NcHN8jwVHlaQe7YW1LT1zH2sS615YOLiHBu9oJhmDyBox7Mt7fzAnXsWmVm17LJ9H7QRbxUhj3p+H8kMwzEH08jJoyQ5hB628rT0EaWUSE3FqSL24oRr03Snuf1kvqN1wDzq7PnLWNh9ICO7Y7NCtjGUhszL5HHvTfe13QdNeRaK9HpFs3lnozSDtJ+tti9/mvraVgW1uHyhxEkDxpmI4jhzX714Vb69KWdx1uba9p6uyS+PmmSCHhIqgONFC484zN9Fyt6vJ42pFZL7PUG9kpLuZoV+3ldLoHsiH9JtneVxJ8llhK6qS2ZwSaOg7Wntacuvd8MfHJKcJx0U2Esme68h7q1mY3L5DK+2/fuuegFSYVdSgpP62lPc2Lr6SlSisLZnHBYRXNA1ss8bZH2EkjQ5xOvHfxjfn1KgR9aSTe86ms3SpSlBeynhdS2Fr+0PDfkneel9ZWXotLl8Wcb993v6l3R8h7Q8N+Sd56X1k9Epcvix993v6l3R8iGcIGBU1G6HuPFEgfdheXG7SNeMSbca3YolzSjTa1S+0Pe1rqM+k24xtxjfw2HR4McdaC6le4cYl8WvL8Nv/ACH1lstKv9D7CJp6ybSuIrdsl4Pw7jV4U6yN1REwOBdGx2bXcXkEA9Nm37QsbySckuRu+z9KcaMptbG9nZ/k6HBRWR5Z4swzlzXgX1ItlNuogeULZZSWGiN9oaU9aFTGzGO0sB7QQQdQdCDuIKnHNptPKKR2rw1lLVSRNIyaOaL6hrxcA9Wo6gFT1oKE3E77R1xK4t41Gtu59a4k44O9pmysFPI4d1YOISdZGDk6XN3dVulTLWupLUe85/TWjnSn08F6r3+5+TNDbTYyTO6embnDjd8Y74OO9zRyg7yN/wCmu4tnnWgSNF6XgoKjXeMbnwxyZwME2qq6L3MWcwHwUoILb77bi3qOnQtNOvOnsLK70Zb3fr7nzXHwZ25OEua2lPGDzmRzh5Mo/FbvTZciAvs7TztqPuXmyK11ZUVspe4OlkNhaNpIaBuADb2Gp8pUWUpVHl7S4pUaNpTUI+qve/jksPgxppI4ZmyMfG7ut7PaWm2RutiNyn2kWovK4nM6eqQqVYODTWODzxZDuECsjkrZMrgQwNYSDpmaNfITbrBUS5knUeC80NSnC0jrLfl9jPvBduJ6WFsLGQua3NYuzZuM4u5HdK9p3UoR1VgxutDUriq6sm8vq6uRuu4Sqrkjp/I8/wDNZemz9xo/6eocZS+HkdTYnGaqtqHyTSDucLL5GgNZmfcAnlNg1+8neFtt6s6k25PYiHpWzoWlGMKcfWk972vC/lrcRXbPHW1dS5zXAxR8SPXQgb3fWPoAUavV1554FzoyydtQSa9Z7X5dnmSjYvZWhqaVksre6PcX3Ike0NyuIDbNcOQA9qk29CE4ZZUaU0ndULl04PCWOCfDOdqO77RMM+Rd52X11u9FpcvmV331e/r+EfI520OxlBHTTPYwxvYxzg4yPIBaL7nOI1tbtWFS2pqDaJNnpe7nXhCTym0sYXHZwRX2z+L+xaiOYG4abOAI4zHaOH69YCgU6mpJSOmvLT0ijKm+O7r4fXvJnt3icsL6apppS1ssZGZpBY8NIc27TodHlS7mbi1OL3lDoi2hVhUoV45cX2rg9u/gaFLwj1TRx44ZOkZmHt1IWEbya3pEmp9n6Dfqya7n5HziHCLVPYWsZHDcWLrl7h1XsAeu6SvJNbFg9o6AoRknKTl7t3mc/ZbZeare0uaW04ILnuBAeBva2/fX3X3Ba6NBze3cSdIaSp20Gk8z4Ll73yJHwhVc9JPDNBI6POwscAbsJjNxdp0Js8+RSLqUoSUosq9C0qVzRnSqxTw8+/b79/A59Lwj1TRZ8cMnSMzD26kLXG8nxWSVU+z9Bv1ZNdz8jHiPCJVSMLWMjhuCM1y9wvzXsAesFeTvJNbNh7Q0BQhJOUnL3bvPwNHZPZaaqkY5zSynaQXOcCA8A963nvuvuHoWNGg5vL3EnSOk6dvBpPM3uXL3vyLiAVqcOeoAgPl7A4WIBHMdQmMnqbTyjTODUhN+4QX5+5Mv+Cw6OHJG/wBLrpY15d7NmKmjb3rWt+a0D8FkopbjTKcpb22H00bt7Wm197QbX3phBTktzPg0MPycf2G/smquRl01T9T72bC9NYQGKSmjcbua1x5y0E+leNJmUZyjubR8to4gbhjARyhouPQmquR66s2sOT7waKI6ljCTy5Rf8E1VyPVVmv6n3hlJECCGMBG4hoB8tk1VyPHUm1htmdemBgdSREkljCTvJaCfwXmqjNVJpYTYFHECCGMBG4hov+Caq5HrqzezWfeZ16azWqsPgl8JHHJ89jXfiFjKEZb1k2U61Sn7EmuptGszZ+hBuKamB6IWeqsVRpr+ldxud9cvY6ku9m/HE1os0Bo5gAB6FmkluI0pOTy3k+rL08MHsGH5OP7Df2XmquRs6Wp+p97HsKH5OP7Df2TVXIdNU/U+9j2FD8nH9hv7JqrkOmqfqfez6ZSxi9mtF9DZoFx0phGLnJ72zz2JF8Rn2R+yaq5HvSz/AFMyRxNb3oDeoAfgiWDFyct7Ptenh8yMDhYgEcx1CYyeptbUY/YkXxGfZH7LzVXIy6Wf6mePpIyACxhA3AtBAvvtpomquQVSaeU2asmBUTu+p6d3XEw/osHSg98Ubo3tzHdUl3s9hwOjYbsp6dp52xMB8oCKlBbooTvLiaxKpJ9rN8BbCMY5qdj7ZmtdbdmANr7968aT3mUZyj7LwacmBUTu+p6c9cLD+iwdKD3xRvV7cx3VJd7PYMDo2G7KeBh52xMB8oCKlBbUkJ3lxNYlUk11s3wFsIx6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/9k="/>
          <p:cNvSpPr>
            <a:spLocks noChangeAspect="1" noChangeArrowheads="1"/>
          </p:cNvSpPr>
          <p:nvPr userDrawn="1"/>
        </p:nvSpPr>
        <p:spPr bwMode="auto">
          <a:xfrm>
            <a:off x="84667" y="-999066"/>
            <a:ext cx="3911600" cy="2070100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de-DE" sz="1350" dirty="0">
              <a:solidFill>
                <a:prstClr val="black"/>
              </a:solidFill>
            </a:endParaRPr>
          </a:p>
        </p:txBody>
      </p:sp>
      <p:pic>
        <p:nvPicPr>
          <p:cNvPr id="13" name="Picture 2" descr="C:\Users\Susanne\Desktop\Experte-KV\Logo etc\logo_experte_kv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6" y="144271"/>
            <a:ext cx="1369849" cy="692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9593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55856-CD2E-48A3-B297-AD9392B347A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42823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C9172-38F5-49D5-B615-90AC3D7248CD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91603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D439B-8325-4795-852F-68B0A8D3F91D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37875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BDBCE-E0D1-4F38-B70D-6EA52E7815F2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479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7"/>
            <a:ext cx="10363200" cy="1363133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03EE13-9732-4F58-AD9A-6DF094AF5919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A5C241-F4B6-436E-BB0D-B0E3F87FF2D6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47735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2F86A9-0884-4331-ADD0-ABD51CD6D95E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50677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BD0D3-F666-4B10-9383-280B333F780B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71621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6DA926-EE36-4944-B48E-8EF330D1506B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6903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A97E5-C688-4D12-BFE5-DDCB771553D2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75939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FD9F2-E825-46D9-ABD0-70D2FC59CBF3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78251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3F9A1-CA15-4631-B777-DCD177F3A5A8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APKV Workshop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30015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perte-k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-144693" y="6381328"/>
            <a:ext cx="12336693" cy="504056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  <a:gs pos="53000">
                <a:schemeClr val="bg1">
                  <a:lumMod val="7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16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endPos="0" dir="5400000" sy="-100000" algn="bl" rotWithShape="0"/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350" dirty="0"/>
          </a:p>
        </p:txBody>
      </p:sp>
      <p:sp>
        <p:nvSpPr>
          <p:cNvPr id="9" name="Titel 6"/>
          <p:cNvSpPr>
            <a:spLocks noGrp="1"/>
          </p:cNvSpPr>
          <p:nvPr userDrawn="1"/>
        </p:nvSpPr>
        <p:spPr>
          <a:xfrm>
            <a:off x="2488704" y="3099958"/>
            <a:ext cx="7214592" cy="6580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chemeClr val="bg1">
                    <a:lumMod val="6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500" dirty="0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143341" y="164643"/>
            <a:ext cx="21783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aseline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üherkennung und Vorsorge</a:t>
            </a:r>
            <a:endParaRPr lang="de-DE" sz="12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11"/>
          </p:nvPr>
        </p:nvSpPr>
        <p:spPr>
          <a:xfrm>
            <a:off x="9033469" y="6356352"/>
            <a:ext cx="2927019" cy="5016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30" name="Gerade Verbindung 29"/>
          <p:cNvCxnSpPr>
            <a:cxnSpLocks/>
          </p:cNvCxnSpPr>
          <p:nvPr userDrawn="1"/>
        </p:nvCxnSpPr>
        <p:spPr>
          <a:xfrm>
            <a:off x="239353" y="548680"/>
            <a:ext cx="988909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 userDrawn="1"/>
        </p:nvSpPr>
        <p:spPr>
          <a:xfrm>
            <a:off x="4295461" y="6484066"/>
            <a:ext cx="34563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üherkennung und Vorsorge</a:t>
            </a:r>
          </a:p>
        </p:txBody>
      </p:sp>
      <p:sp>
        <p:nvSpPr>
          <p:cNvPr id="91138" name="AutoShape 2" descr="data:image/jpeg;base64,/9j/4AAQSkZJRgABAQAAAQABAAD/2wCEAAkGBw8REhMUEhQSEhIUFxUXFxUUFBgUEhUYFBYiGBYdGhgZHCggGBolHBUUITEhJTUrLi8uGCAzODMuNyk5MSwBCgoKDg0OGxAQGzAkICQ1NC8vNDQ3LCwsNSwsMCwsLCw0LDU0LCwsLDQsLC8tLCwvLCw0LDQsNCwsLC80LCwsLP/AABEIAKMBNAMBEQACEQEDEQH/xAAbAAEAAgMBAQAAAAAAAAAAAAAABgcDBAUBAv/EAEsQAAEDAgMCBwgQBQMFAQAAAAEAAgMEEQUSIQYxByJBUWFxgRMyM1SRk6HSFBYjNEJSU3JzgpKUsbLB0SRiY7O0dKLCFUNEw/AX/8QAGwEBAAIDAQEAAAAAAAAAAAAAAAQFAgMGAQf/xAA+EQACAQMABgYHBwMDBQAAAAAAAQIDBBEFEiExQVETcYGRwdEUIjJhobHwBhUzNFJT4UJy8SM1khYkYsLS/9oADAMBAAIRAxEAPwC8U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GliuKQ0zM8zsovYAAue9x3NYxt3PcfigErGUlFa0nhAiG0GI1s0T33dSRNMZbG0ju7+OB7q8XDGm/eMudNXalqo3pmNS5hRorY3ht+C8X3G3osJtmLCcMikjzvD3OMk9yZZOSd4G53MAFU6Qv7mFzOMZtJM2whFxWw3P+i0/xXedl9dQ/vG7/AHH3mepHkP8AotP8V3nZfXT7xu/3H3jUjyI3tfAIPBGRmamqL2lk1yz0wB1doQHu1HOVe6Fuq1VVekk3hLGe08hTi6sFjY2vmRO7/lJ/Py+upfT1OZ2f3da/truGZ/yk/n5fXTp6nMfd9r+2u4Zn/KT+fl9dOnqcx932v7a7g6olLIW91my91rP+9JfRlLbXNc2zu+0VJnUkqMZZ2/5Ka3tKMtI1abitVLYuH9IzP+Un8/L66jdPU5lz93Wv7a7hmf8AKT+fl9dOnqcx932v7a7jFVySBjyJZwQ1xHu8vIPnr1V6md5jPR9rqv8A01u5G9ik0jqia8k2jowLTSNAHcGHcHW3kntW+5qzjPCZXaIs6FS2U5wTeWa2Z/yk/n5fXUfp6nMs/u+1/bXcMz/lJ/Py+unT1OY+77X9tdwzP+Un8/L66dPU5j7vtf213HzJKWgl0swA1JNRKAB0nOvVWqN4TZ5Kxs4rMoRSRJtmtjKyss+WSppqc63M0oqJR/I1zvc2/wAzhfmbuKnUadTfOXYc3f3dpthb0114+Xm+4tjDaGOCNscYIa0WGZxe49LnOJLj0lSSlNlAEAQBAEAQBAEAQBAEAQBAEAQBAEAQEcxDaTM50VG1s0guHSu96xEGxBcNZHjXiM3Ws4suFX3ukaNqvW2y5Lf/AB9YyZwg5GhTUADzLI501QQQZX2uGne1jRpEzQcVu+1ySdVyF5pCtdP13s5cP56yTCCjuMW0XveTrj/uNXmjvzdPrQqeyz3AfAj6So/yHr3Sf5up1in7KOioJmEBD9vvg/6ap/yKVdFoDdW6l4iH41P+5fNEQU4708Q8CAx8kX0tb+SkUuf5eP1zKK2/3St1L5RMiiF6EBhrfByfMd+Ur1bzCp7D6mbuIeHn+dH/AGI1Iu/xCs0J+TXW/mYFGLYIDNQUc1RJ3KnjMsmlwNGRg8sj9zG+k2NgVupUJVN24g3mkaNqvWeZcuP8FmbLbBQ0xbLUEVFS3VptaGI/02He4fHdc77Zb2VlSoxp7jkLzSFa6frvC4Lh/L95M1tIIQBAEAQBAEAQBAEAQBAEAQBAEAQBAaOK4tBTNDpXWzHKxoBdJI618rGDV7rA6DmWM5xhFyk8JDGSN1MtTWeGvT05/wDHY73V4/rSNOg/psNudzgbLmL/AE43mFvs9/ly6/kSIUeMjahiaxrWsaGsaAGtaAGtA3AAaALnJScnl7Wbz7XgObtF73k64/7jVN0d+bp9aMKnss9wHwI+kqP8h690n+bqdYp+yjoqCZhAQ/b74P8Apqn/ACKVdFoDdW6l4iH49P8AuXzREFOO9PEPAgMZ3RfS1v5KRS5/l4/XMorb/da3Uv8A1MiiF6EBhrfByfMd+Ur1bzCp7D6mbuIeHn+dH/YjUi7/ABCs0J+UXW/ma0kjWglxAA5ToFHSbeEWk5xhFyk8JEp2Z2Hqauz589LT6GxFqmUdAPgW9LuNv0boVOpWnGfcc1facbzC3/5eS8X3FpYVhcFLGI4GNjYNbN5Sd5JOrnHlJ1KnbjnG3J5e1m4h4EAQBAEAQBAEAQBAEAQBAEAQBAEAQEartpHSEx0TWyuBLXzvuaaIjQjQgzPB+C0gAghzmlV17pOjarD2y5Lx5fWwzhByNOkw4McZHufNO64dNJYvsfgtAAEbNBxWgDlNzquPu7+tdSzN7OXD695KjBR3G5ZQzIWQCyA520Q/h5OuP+41TdHfm6fWjCp7LGAeBH0lR/kPXuk/zdTrFP2UdBQTMICIbffB/wBNU/5FKui0BurdS8RD8an/AHL5oiCnHeniHgQGM7ovpa38lIpdT8vH65lFbf7pW6l8omRRC9CAw1vg5PmO/KV6t5hU9h9TOoKCoqaueKnjMsmaMk97FGDBHYyPtZo6NXGxsDZTqtCVSr7jnLHSVG1s0ntll7PPkWRstsJBSkSzEVFSNQ9zbRxH+kw3sd/GN3dIGilU6Uaa2FNd31a6eZvZwXD695L1sIYQBAEAQBAEAQBAEAQBAEAQBAEAQBAEBjqIGSNcx7WvY4Wc1wu1wO8EHeEByW7I4WBYUVGBzCnjt+VY6sXwA9qWGeJUn3eP1U1I8ge+1LDPEqT7vH6qakeQHtSwzxKk+7x+qmpHkB7UsM8SpPu8fqpqR5A9bsphoIIo6QEEEEQR3BBuCOLvBCKMVwAk2Uw1xLnUdIXOJJJgjJJJuSTl1JJJTVT4A+fajhfiVH93j9VNSPID2o4X4lR/d4/VTUjyB9x7LYc3NlpKVuZpa60EYzNJBLTxdRdrTboC9SS3Axe03CvEaL7tF6qYRlry5j2m4V4jRfdovVTCGvLmPabhXiNF92i9VMIa8uZ9u2Twwtaw0dIWNLi1pp48rS+2YgZbAnK2/PlHMvcHmXnOT49puFeI0X3aL1V5hHuvLmPabhXiNF92i9VMIa8uYOxuE+I0X3aL1UwhrS5nYhgYwWY1rRzNAA5uTqC9MTIgCAIAgCAIAgCAIAgCAIDy6A9QBAEB5dAeoAgCAIAgCAIAgCAIAgCAIAgPLoD1AEAQBAEAQBAEAQBAEAQHl0AugPUAQBAeXQBAcKqnmLxYuy5iCRujGfKL2IG7jah28bgtLcs/X18yfTjTUNuM479mf42Nd52KKQujY42JIBuNAekdC2xeUQ6kdWbSMOK4lFTRukldlaO0k8gA5SV5Oagsszt7epXmqdNZf1tK1xfhBqpCRDaBnPYPk7SdB2DtVdUu5v2dh1dtoKhBf6vrPuXma8LscmGZprCOe7oweq9rjqXi6eW1ZNkloyk9WWp8/MxVGMYxT+EkqY+mRt2nqc5pBWLqVob20ZwtNH1/YjF9T29yZY+xtRUy0zJKh2Z8l3DitbZm5vegbwM31lYUHJwzI5bSdOjTuHTorCWzjv4+XYdxbiAVpt1tTM2o7lTyujbELPLTo551I3fBFh1k8yrrivJTxF7jqtE6Npuh0laKbluzy/nyODUbQYmywfPM0ua14uRq14u07txC0urVW9ssYWNlPLjBPDx2reW1gWJNqYI5W/DGo+K4aOHYQVaU5qcVJHGXdvK3rSpvh8uD7jfKzI5XG39dV0s7O5TytZK0uy3uGlps61xu1HpUC5lOEtj3nT6Ho0Lii+kgm4vGTjUGJYzOCYZKiQNNiW20NrrTGdaXstlhWt9HUWlUjFZNkux8eNeRpWX/AHHvNONE/wDj8TWj2vxSB+WR7iRvZNGAe3QOCxVxVi9r7zbLRVjWjmC7Yv8Ayix9lsfZWw5wMr2nK9l75Tv0PKCP/tFYUaqqRycvf2UrSrqN5T2p+41NqtrIqOzQO6TEXDL2DRzuPIOYbysK1dU9m9m7R+i53frN4jz8F9bCATbT4nVPysfJc7o4GkWH1eNbpJUF16s3hPuOkjo2yt460orrl9Y+BlGE45v/AIz7zr5O6XXvR1/f3/yYelaM3ep/x/gwVONYtTaSSVMX0jbg9Re0hy8dStDe2jZTs7C42wjF9X8PYWrgTZvY8PdnF0pYC8mwOZ2pGgA0vbsVnT1tRa28467dPp59EsRzs6kV1tdilbS1UkbKmXJo5ouCQHDde2tjcdVlArznCbSkdRo22tri2jOVNZ3Ps4kv2BfNJTCaaV8rpHOtmOjWtOXQDpBN1KtnJw1pPJSaXVOFfo6cUksd72kmUgqggCAju3WNexaY5Dllk4jCN4+M4dQ9JCj3FTUhs3ss9E2npFday9WO1+C7St2Y/iRY54nmLGFoc64sC++Xy2KgdNVxnLOpdjZKSg4LL3dm8mPBztBJN3WKZ7nyDjtc43JboHDsNj9ZS7Ws5ZjJ7Sj03Ywo6tSmsLc+vevr3E5Uw58j21+0raJjbAPlffI06NAG9zugXGnL6Vor1lTXvLLRujndzeXiK3vwRXzcYxascRG+dx5Ww+5tb2ttbtKg9JWqbs9h0ztLC1inNRX921/XUj6dh2Nx8b+N05pnPPka8kpqV1t295j6Royez1O5L5pHR2PxTEJayOKSabK3M97HizsrRpfM3MOMWrOhOpKootkbSVtaU7WVSEFncmub7cbskt2v2nbRMaA3PM++Vp0aAN7ndGo05VLr1+jXvKTRujndyeXiK3+S+thXzcXxascRG+d3OIfc2t6LttbtKg9JWqbs9h0rtbC0inNRX921vsfgj7dh+OR8b+N7JnPP2WvJKaldbdveeekaMns9TuS+LSOjsbimIS1jIpJpcrQ58jHizsrRYXuMw4zmLZQnUlUSbIuk7a0pWsqkILLwk1zfw3ZLIlo43EktBvv/AJrbsw+F2qwcUzlo1ZxWE/rwM4XpgVVwmYi6SpEV+JC0afzvGYn7Jb6VW3c8z1eR2GgrdQt+l4y+S2fPJvcGeBsfmqZGhxa7LGDqAQAXOtz6gDmsVnaUk/XZG07eSjihB4ysvwRY6nnMHxNE17S1wDmkWIIuCOkLxrOxnsZOLzF4Yija0BrQA1oAAG4AaAIljYJScm297OdtJiopaeSU2zAWYDyvdo0dV9T0ArCrU1IuRKsrZ3NeNPhx6uJUmzuGOrKpjHXcHEvldyloN3k9JJt1uVXSh0k8PtO0vblWtu5x4bF18O7f2Ez4T8IBjjqGjWOzHW+I48XyO0+spd5T2KS4FFoG6xUlRl/VtXWt/evkaHBfi+WR9M48WS72fOaOMB1tF/qlYWdTD1HxJGnrXWgq8d62Pq4Pv2dpZasDlSteFjwtN8yT8zVX3vtI6r7O/h1OteJn4M8RgiimEssUZMgID3tYSMgFxc6he2k4xi8vBr07Qq1KkHCLezgm+JMTj9F4zT+eZ+6l9LD9SKP0K5/bl3PyK34QsWp6maPuJD+5tcHPHeuuQQAeUCx13cZV91UjOS1TqdC2tahSl0qxl7F9bv4OxwZROihqZ33EZtbp7kHF5Hlt2FbrRNRlJ7iDp6SqVadGPtf/AFjBA62rfNI+V+r5HFx6zuA6BoB0AKDKTk8s6OlSjSgqcdy2fXzLm2ZwWOkgaxoGcgGR3K51tewbgFb0qahHBwd9dzuark93Be763nxXbWUEL3RyTBr26OAY91jv3taRdeSr04vDZnR0ZdVYKcIbH70vmzUn2xwp7S18oc07w6GQg9hYsXc0nsb+DN0dE30XmMcPrj5nWwjGaeqDjA8vDCATke0AnW3GAv2LbCpGfskO4tK1u0qqxn3p/LJWfCV7+d9HH+qrrv8AEOr0H+UXW/AnPB77wh65P7jlMtfwkc/pn85Ps+SJGpBVhAEBTO2+Meyap5B9ziuxnMbHjO7T6AFU3FTXn7kd1oq09Ht0n7Utr8F2LxJ5gezLW4eYJBZ8zS555WvcLt+zZvaFNp0MUtV8TnLvSLle9NDdF4XUt/ftKzw6rko6hr7EPheQ9vPY5ZG9ozDyFV0ZOnLPI6uvShdUHHhJbPmmXjTTtka17DdrgHNI3EOFwrlNNZR8/nCUJOMt62Fc8KtK8SwyWOQsLL8gcHE27QfQVAvE9ZM6j7PVI9HOnxznsOZsntb7CY6Mxd0Y52a4dlcDYDmsRxRzLXRuOjWMEvSOivS5KalhpY5oltLwi0Tu/bNH0lgcP9pJ9Ckq8g9+SlqaAuY+y0+3Hz2fEkOGYnS1PHheyQgW079oPIQeM29hv5lvhOE9sWVle3r2/q1ItfLyZAuFSleJ4pde5ujyA8gc1xceokOHkPMoV5F6yfA6P7P1YulKnxTz2NJeHxOfsntcaJjo3RCRjnF1w7K8EgA8liNOhYUbjo1jBJ0jor0uampYaWOaJZS8ItE7v2zR9JYHD/YSfQpKvIPfkpp6AuY+y0+3HzJDhuJ0tTx4XskIFrjv2g62IPGbew0KkQnCe2LyVle3rUPVqRa+XkzoLMjhAU9whU5ZXSk7pBG8dWQM/FhVVcxxVfvO30LUUrOKXDK+OfElvBdWNdTPj+FHISRy5X6g+UOHYpVnJODRS6fpONdT4NfFE0UsoggCAqnhJxju04haeJBv5jIRr9kadZcqy7qa0tVcDsNB2nRUellvl8v539xrbIbRw0IkLonySPI4wIADRuGvSSfIsaFaNPOUbtJaPqXbilJJL5ncruECnmjfG+nkLHtLTx27nC3lW+V3GSaaK+loKrSmpxqLK27mQKjqHxPZIw8djg4Hpab+QqDGTi8o6KrTjUg4S3PYXrhVcyeKOVnevaCOcc4PSDcdiuoSUoqSPnlejKjUlTlvRAOFjwtN8yT8zVBvfaidL9nfw6nWvE42zGyjq5j3tlbFkdlsYy++gN++Ft600aDqJtPBOv8ASkbOSi45ys78eDGP7HVVI0vOWWIb3svdvS5p3DpF+xKlvOCzvQs9LULmWp7MuT8H/g0tnH0fdmiqY57HEDMHlrWEnQuA3t59dOlY0nDW9dbDffK46Ju3lhr3Zb6uT7C4a+hDqeSGMBodE9jQBZozNIFgN29Wso5g4o4ejWca8as3nDTfYyimuIsbG41sd9xyKlPojWdhf1LO2RjXtN2vaHA9BFwrxNNZR82qQcJOEt62EPk4O4ZHOfJPMXvcXOLQxrbuNzYFpIGvOonoaby5P4F5HT1SEVGEFhbFv4dq+REts9n4qJ8TY3vfna5xz5bixAFsoG+58ijV6SptJMutF307uMpTSWMbs/ySzgo97zfTf+tqk2XsPrKb7Q/jQ/t8WRrhK9/O+jj/AFUe7/ELXQf5Rdb8Cc8HvvCHrk/uOUy1/DRz+mfzk+z5IkakFWEBG9vMZ9jUxDTaWW7GW3jTju7B6SFHuampD3stNEWnpFwm16sdr8F2v4FU4VPHFLG+RhkYwh2QG1yNW6817eRVkGlJNnY3EJ1KUoQeG9mSef8A6ZH4u/zg/ZTfTVyOd/6dn+4u4hm0mJR1M7pmMMecDM0kG7gLX0HMG+RRKs1OWslgvbG3nb0VSlLON3VyJ1wY4vnhdTu76LVvSxx/R1+whTbSpmOq+Bz2nrXUqqtHdLf1rzXiTGqpmStLJGtex2ha4Ag9hUtpSWGUcKkqclKDw0Res4PKF+rDLF0NcHN8jwVGlaQe7YW9LT1zDZLEuteWDiYhwbPaCYZw4gd69mW/1gf0WmVm8eqydR+0MW8VIY96fh/JC8Pr5KeRssZIcw35rjlaeg7lEjJwesuBf1qEK8HTnuf1kvWaCOaPK9rXscBdrhcEHXUK5aUlhnzyMp0p5i8NcURis4PKJ+rDLF0NcHN8jwVHlaQe7YW1LT1zH2sS615YOLiHBu9oJhmDyBox7Mt7fzAnXsWmVm17LJ9H7QRbxUhj3p+H8kMwzEH08jJoyQ5hB628rT0EaWUSE3FqSL24oRr03Snuf1kvqN1wDzq7PnLWNh9ICO7Y7NCtjGUhszL5HHvTfe13QdNeRaK9HpFs3lnozSDtJ+tti9/mvraVgW1uHyhxEkDxpmI4jhzX714Vb69KWdx1uba9p6uyS+PmmSCHhIqgONFC484zN9Fyt6vJ42pFZL7PUG9kpLuZoV+3ldLoHsiH9JtneVxJ8llhK6qS2ZwSaOg7Wntacuvd8MfHJKcJx0U2Esme68h7q1mY3L5DK+2/fuuegFSYVdSgpP62lPc2Lr6SlSisLZnHBYRXNA1ss8bZH2EkjQ5xOvHfxjfn1KgR9aSTe86ms3SpSlBeynhdS2Fr+0PDfkneel9ZWXotLl8Wcb993v6l3R8h7Q8N+Sd56X1k9Epcvix993v6l3R8iGcIGBU1G6HuPFEgfdheXG7SNeMSbca3YolzSjTa1S+0Pe1rqM+k24xtxjfw2HR4McdaC6le4cYl8WvL8Nv/ACH1lstKv9D7CJp6ybSuIrdsl4Pw7jV4U6yN1REwOBdGx2bXcXkEA9Nm37QsbySckuRu+z9KcaMptbG9nZ/k6HBRWR5Z4swzlzXgX1ItlNuogeULZZSWGiN9oaU9aFTGzGO0sB7QQQdQdCDuIKnHNptPKKR2rw1lLVSRNIyaOaL6hrxcA9Wo6gFT1oKE3E77R1xK4t41Gtu59a4k44O9pmysFPI4d1YOISdZGDk6XN3dVulTLWupLUe85/TWjnSn08F6r3+5+TNDbTYyTO6embnDjd8Y74OO9zRyg7yN/wCmu4tnnWgSNF6XgoKjXeMbnwxyZwME2qq6L3MWcwHwUoILb77bi3qOnQtNOvOnsLK70Zb3fr7nzXHwZ25OEua2lPGDzmRzh5Mo/FbvTZciAvs7TztqPuXmyK11ZUVspe4OlkNhaNpIaBuADb2Gp8pUWUpVHl7S4pUaNpTUI+qve/jksPgxppI4ZmyMfG7ut7PaWm2RutiNyn2kWovK4nM6eqQqVYODTWODzxZDuECsjkrZMrgQwNYSDpmaNfITbrBUS5knUeC80NSnC0jrLfl9jPvBduJ6WFsLGQua3NYuzZuM4u5HdK9p3UoR1VgxutDUriq6sm8vq6uRuu4Sqrkjp/I8/wDNZemz9xo/6eocZS+HkdTYnGaqtqHyTSDucLL5GgNZmfcAnlNg1+8neFtt6s6k25PYiHpWzoWlGMKcfWk972vC/lrcRXbPHW1dS5zXAxR8SPXQgb3fWPoAUavV1554FzoyydtQSa9Z7X5dnmSjYvZWhqaVksre6PcX3Ike0NyuIDbNcOQA9qk29CE4ZZUaU0ndULl04PCWOCfDOdqO77RMM+Rd52X11u9FpcvmV331e/r+EfI520OxlBHTTPYwxvYxzg4yPIBaL7nOI1tbtWFS2pqDaJNnpe7nXhCTym0sYXHZwRX2z+L+xaiOYG4abOAI4zHaOH69YCgU6mpJSOmvLT0ijKm+O7r4fXvJnt3icsL6apppS1ssZGZpBY8NIc27TodHlS7mbi1OL3lDoi2hVhUoV45cX2rg9u/gaFLwj1TRx44ZOkZmHt1IWEbya3pEmp9n6Dfqya7n5HziHCLVPYWsZHDcWLrl7h1XsAeu6SvJNbFg9o6AoRknKTl7t3mc/ZbZeare0uaW04ILnuBAeBva2/fX3X3Ba6NBze3cSdIaSp20Gk8z4Ll73yJHwhVc9JPDNBI6POwscAbsJjNxdp0Js8+RSLqUoSUosq9C0qVzRnSqxTw8+/b79/A59Lwj1TRZ8cMnSMzD26kLXG8nxWSVU+z9Bv1ZNdz8jHiPCJVSMLWMjhuCM1y9wvzXsAesFeTvJNbNh7Q0BQhJOUnL3bvPwNHZPZaaqkY5zSynaQXOcCA8A963nvuvuHoWNGg5vL3EnSOk6dvBpPM3uXL3vyLiAVqcOeoAgPl7A4WIBHMdQmMnqbTyjTODUhN+4QX5+5Mv+Cw6OHJG/wBLrpY15d7NmKmjb3rWt+a0D8FkopbjTKcpb22H00bt7Wm197QbX3phBTktzPg0MPycf2G/smquRl01T9T72bC9NYQGKSmjcbua1x5y0E+leNJmUZyjubR8to4gbhjARyhouPQmquR66s2sOT7waKI6ljCTy5Rf8E1VyPVVmv6n3hlJECCGMBG4hoB8tk1VyPHUm1htmdemBgdSREkljCTvJaCfwXmqjNVJpYTYFHECCGMBG4hov+Caq5HrqzezWfeZ16azWqsPgl8JHHJ89jXfiFjKEZb1k2U61Sn7EmuptGszZ+hBuKamB6IWeqsVRpr+ldxud9cvY6ku9m/HE1os0Bo5gAB6FmkluI0pOTy3k+rL08MHsGH5OP7Df2XmquRs6Wp+p97HsKH5OP7Df2TVXIdNU/U+9j2FD8nH9hv7JqrkOmqfqfez6ZSxi9mtF9DZoFx0phGLnJ72zz2JF8Rn2R+yaq5HvSz/AFMyRxNb3oDeoAfgiWDFyct7Ptenh8yMDhYgEcx1CYyeptbUY/YkXxGfZH7LzVXIy6Wf6mePpIyACxhA3AtBAvvtpomquQVSaeU2asmBUTu+p6d3XEw/osHSg98Ubo3tzHdUl3s9hwOjYbsp6dp52xMB8oCKlBbooTvLiaxKpJ9rN8BbCMY5qdj7ZmtdbdmANr7968aT3mUZyj7LwacmBUTu+p6c9cLD+iwdKD3xRvV7cx3VJd7PYMDo2G7KeBh52xMB8oCKlBbUkJ3lxNYlUk11s3wFsIx6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/9k="/>
          <p:cNvSpPr>
            <a:spLocks noChangeAspect="1" noChangeArrowheads="1"/>
          </p:cNvSpPr>
          <p:nvPr userDrawn="1"/>
        </p:nvSpPr>
        <p:spPr bwMode="auto">
          <a:xfrm>
            <a:off x="84667" y="-999066"/>
            <a:ext cx="3911600" cy="2070100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de-DE" sz="1350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A5F0BD2-C6C6-4255-91CE-E199B3829DD6}"/>
              </a:ext>
            </a:extLst>
          </p:cNvPr>
          <p:cNvSpPr txBox="1"/>
          <p:nvPr userDrawn="1"/>
        </p:nvSpPr>
        <p:spPr>
          <a:xfrm>
            <a:off x="10496978" y="225514"/>
            <a:ext cx="1224136" cy="646331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/>
              <a:t>Logo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77844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43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070A-E351-41A3-85FD-2F03B8BA3B5A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4585"/>
            <a:ext cx="5386917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3" y="1534585"/>
            <a:ext cx="5389033" cy="64134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3" y="2175934"/>
            <a:ext cx="5389033" cy="39497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0A351-2FE1-4F8F-BCCB-F98B0FCE99C8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EEECA8-3437-48D3-A0F4-A70C15D141D9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F09C7-1C4F-44F8-8A28-F1700C0A2A0F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9"/>
            <a:ext cx="4011084" cy="1162049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258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053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34935-9FE2-4E75-A090-3DBF35E87BF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PKV Workshop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3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34A99D-1A11-4266-BC31-03219A1C68AB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152E76-A977-4233-B863-8D84644E4567}" type="datetime1">
              <a:rPr lang="de-DE" smtClean="0">
                <a:solidFill>
                  <a:prstClr val="black">
                    <a:tint val="75000"/>
                  </a:prstClr>
                </a:solidFill>
              </a:rPr>
              <a:t>18.06.2020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>
                <a:solidFill>
                  <a:prstClr val="black">
                    <a:tint val="75000"/>
                  </a:prstClr>
                </a:solidFill>
              </a:rPr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FBBF8E-263D-497E-8C98-042049DB03E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496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34A99D-1A11-4266-BC31-03219A1C68AB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FBBF8E-263D-497E-8C98-042049DB03E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9368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BDF72A-092C-44B5-A481-9CE9F0317318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496FF0-B657-43E5-84C6-B26510352BC0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21E3E6-8F86-4CC3-BFFE-3116CE523CF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59D0D6-3CBF-4FF9-9B90-A551D0F578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1F5FAA-5AEE-46AB-8FF1-8F056D9D544B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10B72C-2655-4D9A-8756-DA0FB09FC9E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04AEB1-151C-4552-B777-CD93EC2AF3AE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D82B1A-6D88-4CDE-9BF9-8D493EC026F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03D0CA-4816-4261-A552-96712BE7EBD9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36C2ED-ACCA-432B-8141-69CF02EFD5B5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60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2FE8A6-21E9-40E0-9D1C-C1705CCA378B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60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60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A57D9A-0A24-4A97-964A-CEC0248BECD6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60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2973B5-68EA-41F9-885A-433819E3DAA1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60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60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3F31B8-8BBC-433B-9D75-367BBB5EEE0C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0000"/>
            </a:gs>
            <a:gs pos="39999">
              <a:srgbClr val="0A128C"/>
            </a:gs>
            <a:gs pos="70000">
              <a:srgbClr val="181CC7"/>
            </a:gs>
            <a:gs pos="88000">
              <a:srgbClr val="7005D4"/>
            </a:gs>
            <a:gs pos="100000">
              <a:srgbClr val="8C3D9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9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9C9479-8CE7-49DE-8726-D17CFC32AFFA}" type="datetime1">
              <a:rPr lang="de-DE" smtClean="0"/>
              <a:t>18.06.202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65600" y="6356359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APKV Workshop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737600" y="635635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A46BD1-8DFC-4E9B-855D-1BEEF4350321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wmf"/><Relationship Id="rId2" Type="http://schemas.openxmlformats.org/officeDocument/2006/relationships/slideLayout" Target="../slideLayouts/slideLayout4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.xml"/><Relationship Id="rId4" Type="http://schemas.openxmlformats.org/officeDocument/2006/relationships/hyperlink" Target="https://www.onkologie-partner.de/gesundheit/krebsfrueherkennun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8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17.png"/><Relationship Id="rId4" Type="http://schemas.openxmlformats.org/officeDocument/2006/relationships/hyperlink" Target="https://www.dgo.de/mammographie-frueherkennung-brustkreb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2364DFD-961B-4BBB-9674-D09967E05F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654302"/>
            <a:ext cx="5536716" cy="3691145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FBBF8E-263D-497E-8C98-042049DB03ED}" type="slidenum">
              <a:rPr lang="de-DE">
                <a:solidFill>
                  <a:prstClr val="white"/>
                </a:solidFill>
                <a:latin typeface="Calibri"/>
              </a:rPr>
              <a:pPr>
                <a:defRPr/>
              </a:pPr>
              <a:t>1</a:t>
            </a:fld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6326946-5BC3-4BE2-909D-CED01DCC10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933" y="2564904"/>
            <a:ext cx="5568555" cy="371237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470B633-57AB-409F-9ACF-37F40CB8B945}"/>
              </a:ext>
            </a:extLst>
          </p:cNvPr>
          <p:cNvSpPr txBox="1"/>
          <p:nvPr/>
        </p:nvSpPr>
        <p:spPr>
          <a:xfrm>
            <a:off x="367414" y="4797152"/>
            <a:ext cx="53285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Wunsch nach optimaler</a:t>
            </a:r>
          </a:p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Medizinischer Behandlung !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7A53656-498E-444C-BE3E-92734FB926B6}"/>
              </a:ext>
            </a:extLst>
          </p:cNvPr>
          <p:cNvSpPr txBox="1"/>
          <p:nvPr/>
        </p:nvSpPr>
        <p:spPr>
          <a:xfrm>
            <a:off x="6744072" y="908720"/>
            <a:ext cx="357020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Früherkennung</a:t>
            </a:r>
          </a:p>
          <a:p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Vorsorge</a:t>
            </a:r>
            <a:endParaRPr 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558E7D58-9DBB-4B10-9615-4874FEDA68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8601926"/>
              </p:ext>
            </p:extLst>
          </p:nvPr>
        </p:nvGraphicFramePr>
        <p:xfrm>
          <a:off x="2024063" y="2667000"/>
          <a:ext cx="1079500" cy="1079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PDF" r:id="rId6" imgW="1080000" imgH="1080000" progId="FoxitReader.Document">
                  <p:embed/>
                </p:oleObj>
              </mc:Choice>
              <mc:Fallback>
                <p:oleObj name="PDF" r:id="rId6" imgW="1080000" imgH="1080000" progId="FoxitReader.Document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24063" y="2667000"/>
                        <a:ext cx="1079500" cy="1079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46479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60036F76-EEE4-42BE-961D-3151B93E3B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5949" y="548680"/>
            <a:ext cx="2280102" cy="1414395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473C3EB-35FB-466D-8DFE-D876204866C7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3. Warum Vorsorge so wichtig ist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5E7175D4-AC1A-462B-923E-7760F9493D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278" y="1251923"/>
            <a:ext cx="10297144" cy="4699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63480" rIns="0" bIns="171396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Früherkennung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0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Die Früherkennung von bestimmten Krankheiten und die Erfassung gesundheitlicher Risiken sind wesentliche Bestandteile der Prävention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cs typeface="Arial" panose="020B0604020202020204" pitchFamily="34" charset="0"/>
              </a:rPr>
              <a:t>Das Ziel: das Auftreten von Erkrankungen und Risikofaktoren (z.B. Bewegungsmangel) sowie von Behinderungen möglichst früh erkennen, denn im Anfangsstadium können Behandlungs- und Präventionsmöglichkeiten sowie die Aussicht auf Heilung besser sei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2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r>
              <a:rPr lang="de-DE" b="1" dirty="0"/>
              <a:t>Kostenübernahme durch die Krankenkassen</a:t>
            </a:r>
          </a:p>
          <a:p>
            <a:endParaRPr lang="de-DE" b="1" dirty="0"/>
          </a:p>
          <a:p>
            <a:r>
              <a:rPr lang="de-DE" dirty="0"/>
              <a:t>Alle vom Gemeinsamen Bundesausschuss (G-BA) in seinen Richtlinien empfohlenen Früherkennungsuntersuchungen sind Leistungen der gesetzlichen Krankenkassen – sie sind generell zuzahlungsfrei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0745191-D42E-4591-8C92-9AF625EBBE0C}"/>
              </a:ext>
            </a:extLst>
          </p:cNvPr>
          <p:cNvSpPr/>
          <p:nvPr/>
        </p:nvSpPr>
        <p:spPr>
          <a:xfrm>
            <a:off x="263352" y="5813353"/>
            <a:ext cx="32367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MG, Online-Ratgeber Krankenversicherung</a:t>
            </a:r>
            <a:endParaRPr lang="de-DE" sz="1200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3324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1E04826-6F18-46E8-A611-047F00525366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3. Warum Vorsorge so wichtig is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F0BDD84-D05A-4AC3-A82B-32F2C9F381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9976" y="1027703"/>
            <a:ext cx="5976664" cy="50807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D3AE72DD-E626-4A5C-8BEC-BFC6BB1A7029}"/>
              </a:ext>
            </a:extLst>
          </p:cNvPr>
          <p:cNvSpPr/>
          <p:nvPr/>
        </p:nvSpPr>
        <p:spPr>
          <a:xfrm>
            <a:off x="223331" y="1337556"/>
            <a:ext cx="5472608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rgbClr val="3C3E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ale Früherkennung: </a:t>
            </a:r>
          </a:p>
          <a:p>
            <a:endParaRPr lang="de-DE" dirty="0">
              <a:solidFill>
                <a:srgbClr val="3C3E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solidFill>
                  <a:srgbClr val="3C3E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e verhindert den Tod durch das bösartige Leiden.</a:t>
            </a:r>
          </a:p>
          <a:p>
            <a:endParaRPr lang="de-DE" dirty="0">
              <a:solidFill>
                <a:srgbClr val="3C3E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solidFill>
                  <a:srgbClr val="32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che Krebstypen können durch geeignete Untersuchungsverfahren sicher erkannt werden, bevor Krebsabsiedlungen (Metastasen) entstehen. </a:t>
            </a:r>
          </a:p>
          <a:p>
            <a:endParaRPr lang="de-DE" dirty="0">
              <a:solidFill>
                <a:srgbClr val="32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solidFill>
                  <a:srgbClr val="32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gerade wegen der Früherkennung mögliche frühe Therapie verhindert die Entstehung von Metastasen. </a:t>
            </a:r>
          </a:p>
          <a:p>
            <a:endParaRPr lang="de-DE" dirty="0">
              <a:solidFill>
                <a:srgbClr val="32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solidFill>
                  <a:srgbClr val="32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n Bedeutung ist das dann, wenn diese Metastasen üblicherweise zum Tode führen. </a:t>
            </a:r>
          </a:p>
          <a:p>
            <a:endParaRPr lang="de-DE" dirty="0">
              <a:solidFill>
                <a:srgbClr val="32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solidFill>
                  <a:srgbClr val="32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ische Krebstypen, für die das zutrifft, sind Brustkrebs, Gebärmutterhalskrebs und Darmkrebs.</a:t>
            </a:r>
            <a:endParaRPr lang="de-DE" b="0" i="0" dirty="0">
              <a:solidFill>
                <a:srgbClr val="323333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50F0A4B-5E47-4210-877C-17E8001FFA81}"/>
              </a:ext>
            </a:extLst>
          </p:cNvPr>
          <p:cNvSpPr/>
          <p:nvPr/>
        </p:nvSpPr>
        <p:spPr>
          <a:xfrm>
            <a:off x="8648120" y="6138870"/>
            <a:ext cx="331236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s://www.onkologie-partner.de/gesundheit/krebsfrueherkennung</a:t>
            </a:r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1225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BC6AE5A-96B9-4B78-B45D-43F44A549CAA}"/>
              </a:ext>
            </a:extLst>
          </p:cNvPr>
          <p:cNvSpPr/>
          <p:nvPr/>
        </p:nvSpPr>
        <p:spPr>
          <a:xfrm>
            <a:off x="191344" y="636642"/>
            <a:ext cx="50405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4. Zusatzversorgung über die private Zusatzversicherung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5DD001E-2705-450E-8F15-849D807747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6138" y="990875"/>
            <a:ext cx="6819723" cy="50445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D0C7916-7511-48D1-BCBB-80E9FF090C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60" y="1773974"/>
            <a:ext cx="6477000" cy="34783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EE46CDD-4980-4A62-8176-CB0C496AB3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3791" y="2582442"/>
            <a:ext cx="7632847" cy="36389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310234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FBBF8E-263D-497E-8C98-042049DB03ED}" type="slidenum">
              <a:rPr lang="de-DE">
                <a:solidFill>
                  <a:prstClr val="white"/>
                </a:solidFill>
                <a:latin typeface="Calibri"/>
              </a:rPr>
              <a:pPr>
                <a:defRPr/>
              </a:pPr>
              <a:t>13</a:t>
            </a:fld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Grafik 2">
            <a:extLst>
              <a:ext uri="{FF2B5EF4-FFF2-40B4-BE49-F238E27FC236}">
                <a16:creationId xmlns:a16="http://schemas.microsoft.com/office/drawing/2014/main" id="{BB6E75F2-1E49-4F59-807B-42DEB27475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4" y="2895599"/>
            <a:ext cx="3681860" cy="320961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3">
            <a:extLst>
              <a:ext uri="{FF2B5EF4-FFF2-40B4-BE49-F238E27FC236}">
                <a16:creationId xmlns:a16="http://schemas.microsoft.com/office/drawing/2014/main" id="{E463130B-37A5-4AA6-88BB-FAD8598C81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04790" y="1260616"/>
            <a:ext cx="29352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de-DE" sz="2000" dirty="0"/>
              <a:t>Tarifwerk / Bedingungen</a:t>
            </a:r>
          </a:p>
        </p:txBody>
      </p:sp>
      <p:sp>
        <p:nvSpPr>
          <p:cNvPr id="9" name="Textfeld 6">
            <a:extLst>
              <a:ext uri="{FF2B5EF4-FFF2-40B4-BE49-F238E27FC236}">
                <a16:creationId xmlns:a16="http://schemas.microsoft.com/office/drawing/2014/main" id="{1F942A07-E225-4710-A855-7C5F8728D4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74052" y="1260616"/>
            <a:ext cx="247882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de-DE" sz="2000" dirty="0"/>
              <a:t>Software - Vergleich</a:t>
            </a:r>
            <a:endParaRPr lang="de-DE" alt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5A4F978-8A68-4E11-9EE0-3BC62E31BD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9976" y="3946366"/>
            <a:ext cx="677863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de-DE" sz="6600" dirty="0"/>
              <a:t>+</a:t>
            </a:r>
          </a:p>
        </p:txBody>
      </p:sp>
      <p:sp>
        <p:nvSpPr>
          <p:cNvPr id="12" name="Textfeld 3">
            <a:extLst>
              <a:ext uri="{FF2B5EF4-FFF2-40B4-BE49-F238E27FC236}">
                <a16:creationId xmlns:a16="http://schemas.microsoft.com/office/drawing/2014/main" id="{DC45A873-A6AD-41DB-AF1D-19EEB58BF1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75907" y="1798963"/>
            <a:ext cx="388600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DE" altLang="de-DE" sz="4400" b="1" dirty="0">
                <a:solidFill>
                  <a:srgbClr val="C00000"/>
                </a:solidFill>
              </a:rPr>
              <a:t>Ihre Wünsch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C1E7E00-B146-4C9B-9368-EB2B38F45BAE}"/>
              </a:ext>
            </a:extLst>
          </p:cNvPr>
          <p:cNvSpPr/>
          <p:nvPr/>
        </p:nvSpPr>
        <p:spPr>
          <a:xfrm>
            <a:off x="191344" y="636642"/>
            <a:ext cx="38164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5. Besonderheiten, Auswahl des Anbieter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8316A0A-B708-42EC-A163-4545C044E0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78635" y="2823250"/>
            <a:ext cx="3528392" cy="3295518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0DAE750F-0E18-4C1C-863E-00891A24DC74}"/>
              </a:ext>
            </a:extLst>
          </p:cNvPr>
          <p:cNvSpPr txBox="1"/>
          <p:nvPr/>
        </p:nvSpPr>
        <p:spPr>
          <a:xfrm>
            <a:off x="9882241" y="5949280"/>
            <a:ext cx="52478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6342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2364DFD-961B-4BBB-9674-D09967E05F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654302"/>
            <a:ext cx="5536716" cy="3691145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FBBF8E-263D-497E-8C98-042049DB03ED}" type="slidenum">
              <a:rPr lang="de-DE">
                <a:solidFill>
                  <a:prstClr val="white"/>
                </a:solidFill>
                <a:latin typeface="Calibri"/>
              </a:rPr>
              <a:pPr>
                <a:defRPr/>
              </a:pPr>
              <a:t>14</a:t>
            </a:fld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6326946-5BC3-4BE2-909D-CED01DCC10E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933" y="2564904"/>
            <a:ext cx="5568555" cy="371237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470B633-57AB-409F-9ACF-37F40CB8B945}"/>
              </a:ext>
            </a:extLst>
          </p:cNvPr>
          <p:cNvSpPr txBox="1"/>
          <p:nvPr/>
        </p:nvSpPr>
        <p:spPr>
          <a:xfrm>
            <a:off x="1415480" y="4941168"/>
            <a:ext cx="30745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Vielen Dank !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C9FBB37-9A67-4CCD-BBE5-7C78ACC1CB6F}"/>
              </a:ext>
            </a:extLst>
          </p:cNvPr>
          <p:cNvSpPr txBox="1"/>
          <p:nvPr/>
        </p:nvSpPr>
        <p:spPr>
          <a:xfrm>
            <a:off x="6744072" y="908720"/>
            <a:ext cx="357020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Früherkennung</a:t>
            </a:r>
          </a:p>
          <a:p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Vorsorge</a:t>
            </a:r>
            <a:endParaRPr 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6502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682C777-2817-498C-AF85-319DEE6D67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2048" y="836712"/>
            <a:ext cx="8607905" cy="46085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EE8C2A7-2A69-4749-9205-1AC5E60BBC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6272" y="3949234"/>
            <a:ext cx="3339455" cy="22222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E77EBA57-4C44-4795-9A9F-725F387039B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398" y="1166022"/>
            <a:ext cx="4504202" cy="3258721"/>
          </a:xfrm>
          <a:prstGeom prst="ellipse">
            <a:avLst/>
          </a:prstGeom>
          <a:ln w="63500" cap="rnd">
            <a:solidFill>
              <a:schemeClr val="tx1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FDE7464-0C57-4450-B1D5-D11F969575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5396" y="1151946"/>
            <a:ext cx="4504207" cy="3258721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4196953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FBBF8E-263D-497E-8C98-042049DB03ED}" type="slidenum">
              <a:rPr lang="de-DE">
                <a:solidFill>
                  <a:prstClr val="white"/>
                </a:solidFill>
                <a:latin typeface="Calibri"/>
              </a:rPr>
              <a:pPr>
                <a:defRPr/>
              </a:pPr>
              <a:t>3</a:t>
            </a:fld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4" name="Tabelle 3">
            <a:extLst>
              <a:ext uri="{FF2B5EF4-FFF2-40B4-BE49-F238E27FC236}">
                <a16:creationId xmlns:a16="http://schemas.microsoft.com/office/drawing/2014/main" id="{55DDB7D0-D686-4A89-95AD-6C96112E4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275521"/>
              </p:ext>
            </p:extLst>
          </p:nvPr>
        </p:nvGraphicFramePr>
        <p:xfrm>
          <a:off x="695400" y="1772816"/>
          <a:ext cx="10801199" cy="3651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2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39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0582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.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men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7981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undsätzliches zur Vorsorge 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3747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htsanspruch auf Leistungen in der GKV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2979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rum Vorsorge so wichtig ist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5978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usatzversorgung über die private Zusatzversicherung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9983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sonderheiten, Auswahl des Anbieters</a:t>
                      </a:r>
                    </a:p>
                  </a:txBody>
                  <a:tcPr marL="91447" marR="91447" marT="45721" marB="45721">
                    <a:gradFill>
                      <a:gsLst>
                        <a:gs pos="0">
                          <a:schemeClr val="accent1">
                            <a:lumMod val="5000"/>
                            <a:lumOff val="95000"/>
                          </a:schemeClr>
                        </a:gs>
                        <a:gs pos="74000">
                          <a:schemeClr val="accent1">
                            <a:lumMod val="45000"/>
                            <a:lumOff val="55000"/>
                          </a:schemeClr>
                        </a:gs>
                        <a:gs pos="83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30000"/>
                            <a:lumOff val="70000"/>
                          </a:schemeClr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D8DDD2E2-AE6E-4E0A-8639-127A297FD184}"/>
              </a:ext>
            </a:extLst>
          </p:cNvPr>
          <p:cNvSpPr/>
          <p:nvPr/>
        </p:nvSpPr>
        <p:spPr>
          <a:xfrm>
            <a:off x="665650" y="884203"/>
            <a:ext cx="80528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Vorsorge</a:t>
            </a:r>
          </a:p>
        </p:txBody>
      </p:sp>
    </p:spTree>
    <p:extLst>
      <p:ext uri="{BB962C8B-B14F-4D97-AF65-F5344CB8AC3E}">
        <p14:creationId xmlns:p14="http://schemas.microsoft.com/office/powerpoint/2010/main" val="22585187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F8F054F-FEFD-4BE2-805C-5415F72DE1DB}"/>
              </a:ext>
            </a:extLst>
          </p:cNvPr>
          <p:cNvSpPr/>
          <p:nvPr/>
        </p:nvSpPr>
        <p:spPr>
          <a:xfrm>
            <a:off x="191344" y="636642"/>
            <a:ext cx="30509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1. Grundsätzliches zur Vorsorg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039D31E-9CC8-4546-9969-A286043B54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564" y="790530"/>
            <a:ext cx="2284872" cy="1419026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1120D3B3-AAD9-44C8-82E7-AA284EC0A5F2}"/>
              </a:ext>
            </a:extLst>
          </p:cNvPr>
          <p:cNvSpPr/>
          <p:nvPr/>
        </p:nvSpPr>
        <p:spPr>
          <a:xfrm>
            <a:off x="191344" y="1526615"/>
            <a:ext cx="1116124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Früherkennung</a:t>
            </a:r>
          </a:p>
          <a:p>
            <a:endParaRPr lang="de-DE" dirty="0">
              <a:solidFill>
                <a:srgbClr val="005F8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it Erkrankungen in einem möglichst frühen Stadium erkannt werden können, bieten die gesetzlichen Krankenkassen ihren Versicherten sogenannte </a:t>
            </a:r>
            <a:r>
              <a:rPr lang="de-DE" u="sng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üherkennungsuntersuchungen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zum Teil auch als "</a:t>
            </a:r>
            <a:r>
              <a:rPr lang="de-DE" u="sng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sorgeuntersuchungen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 bezeichnet – an. Die Behandlungs- und Heilungsmöglichkeiten sind oftmals besser, wenn eine Krankheit zu einem frühen Zeitpunkt erkannt wird. Früherkennungsuntersuchungen sind ein wesentlicher Teil der Prävention.</a:t>
            </a:r>
          </a:p>
          <a:p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suchungen zur Früherkennung von Krankheiten richten sich grundsätzlich an augenscheinlich gesunde und beschwerdefreie Personen. Durch Früherkennungsuntersuchungen sollen </a:t>
            </a:r>
            <a:r>
              <a:rPr lang="de-DE" u="sng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e Krankheit oder ihre Vorstufen entdeckt werden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bevor sie Beschwerden auslösen. </a:t>
            </a:r>
          </a:p>
          <a:p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etzlich versicherte Frauen und Männer haben derzeit einen regelmäßigen Anspruch auf Leistungen zur Früherkennung von Herz-Kreislauf-, Nierenerkrankungen und Diabetes mellitus (sog. "Check-up") sowie von bestimmten Krebserkrankungen.</a:t>
            </a:r>
            <a:endParaRPr lang="de-DE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296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7E70173-6A59-4A50-9180-9C36D8BEE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8870" y="456943"/>
            <a:ext cx="7974259" cy="589941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47F95F3F-EB46-408F-B08D-93FCE8CC8AF1}"/>
              </a:ext>
            </a:extLst>
          </p:cNvPr>
          <p:cNvSpPr/>
          <p:nvPr/>
        </p:nvSpPr>
        <p:spPr>
          <a:xfrm>
            <a:off x="191344" y="636642"/>
            <a:ext cx="4104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uch auf Leistungen in der GKV</a:t>
            </a:r>
          </a:p>
        </p:txBody>
      </p:sp>
    </p:spTree>
    <p:extLst>
      <p:ext uri="{BB962C8B-B14F-4D97-AF65-F5344CB8AC3E}">
        <p14:creationId xmlns:p14="http://schemas.microsoft.com/office/powerpoint/2010/main" val="2226969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8D27038-FA29-423B-AEE8-765DCE77F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52" y="1124744"/>
            <a:ext cx="6696075" cy="211455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0A016D5-33EF-4251-9EAD-1222343308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8288" y="1124744"/>
            <a:ext cx="3125878" cy="483642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D269C56F-8ED2-4DAA-8FDB-BE51A872C208}"/>
              </a:ext>
            </a:extLst>
          </p:cNvPr>
          <p:cNvSpPr/>
          <p:nvPr/>
        </p:nvSpPr>
        <p:spPr>
          <a:xfrm>
            <a:off x="191344" y="636642"/>
            <a:ext cx="4104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uch auf Leistungen in der GKV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4BD6AE8-7900-4CA3-B161-5BD67F365B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3872" y="2060848"/>
            <a:ext cx="4846699" cy="41776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393AFE6-CCBC-4D1A-BC38-84C0EB7AFC26}"/>
              </a:ext>
            </a:extLst>
          </p:cNvPr>
          <p:cNvSpPr txBox="1"/>
          <p:nvPr/>
        </p:nvSpPr>
        <p:spPr>
          <a:xfrm>
            <a:off x="380741" y="5850809"/>
            <a:ext cx="13298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www.kbv.de</a:t>
            </a:r>
          </a:p>
        </p:txBody>
      </p:sp>
    </p:spTree>
    <p:extLst>
      <p:ext uri="{BB962C8B-B14F-4D97-AF65-F5344CB8AC3E}">
        <p14:creationId xmlns:p14="http://schemas.microsoft.com/office/powerpoint/2010/main" val="3147711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602D93-6FF8-43BF-BD36-87FCA79CDE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1944870"/>
            <a:ext cx="9495358" cy="418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3ABC03C-2BF9-41D5-9FAA-C0EF75DD74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1133825"/>
            <a:ext cx="1638300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EC45EC6-03B2-4018-B41B-EC3C1791C4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00256" y="1700808"/>
            <a:ext cx="2750274" cy="1989779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868F5874-CAD5-441B-A50F-F86E42DD3FA7}"/>
              </a:ext>
            </a:extLst>
          </p:cNvPr>
          <p:cNvSpPr/>
          <p:nvPr/>
        </p:nvSpPr>
        <p:spPr>
          <a:xfrm>
            <a:off x="191344" y="636642"/>
            <a:ext cx="4104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uch auf Leistungen in der GKV</a:t>
            </a:r>
          </a:p>
        </p:txBody>
      </p:sp>
    </p:spTree>
    <p:extLst>
      <p:ext uri="{BB962C8B-B14F-4D97-AF65-F5344CB8AC3E}">
        <p14:creationId xmlns:p14="http://schemas.microsoft.com/office/powerpoint/2010/main" val="34964289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061928B-4BF5-4567-8C9F-266A2FDE3D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9113" y="332656"/>
            <a:ext cx="5760640" cy="5923795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362A0108-A110-47B6-8388-5E155F529315}"/>
              </a:ext>
            </a:extLst>
          </p:cNvPr>
          <p:cNvSpPr/>
          <p:nvPr/>
        </p:nvSpPr>
        <p:spPr>
          <a:xfrm>
            <a:off x="10416480" y="5631135"/>
            <a:ext cx="146677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50" dirty="0"/>
              <a:t>https://www.zentrum-dergesundheit.de/</a:t>
            </a:r>
          </a:p>
          <a:p>
            <a:r>
              <a:rPr lang="de-DE" sz="1050" dirty="0"/>
              <a:t>mammographie.htm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3FF8ACD-D7C2-4131-ADA5-6CA4DDC513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754" y="1844824"/>
            <a:ext cx="2750274" cy="1989779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1E7330F-3114-4763-B214-636BC1A1B850}"/>
              </a:ext>
            </a:extLst>
          </p:cNvPr>
          <p:cNvSpPr/>
          <p:nvPr/>
        </p:nvSpPr>
        <p:spPr>
          <a:xfrm>
            <a:off x="191344" y="636642"/>
            <a:ext cx="4104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uch auf Leistungen in der GKV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204F519-517E-4427-80C9-AF6D507CE298}"/>
              </a:ext>
            </a:extLst>
          </p:cNvPr>
          <p:cNvSpPr txBox="1"/>
          <p:nvPr/>
        </p:nvSpPr>
        <p:spPr>
          <a:xfrm>
            <a:off x="844754" y="5088678"/>
            <a:ext cx="2750274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Unter 50:		ca. 18%</a:t>
            </a: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Zw. 50-69:	ca. 48%</a:t>
            </a: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Über 69:	    	ca. 34%</a:t>
            </a:r>
          </a:p>
        </p:txBody>
      </p:sp>
    </p:spTree>
    <p:extLst>
      <p:ext uri="{BB962C8B-B14F-4D97-AF65-F5344CB8AC3E}">
        <p14:creationId xmlns:p14="http://schemas.microsoft.com/office/powerpoint/2010/main" val="1788123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FFBBF8E-263D-497E-8C98-042049DB03ED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3FF8ACD-D7C2-4131-ADA5-6CA4DDC513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423" y="1911933"/>
            <a:ext cx="2750274" cy="1989779"/>
          </a:xfrm>
          <a:prstGeom prst="ellipse">
            <a:avLst/>
          </a:prstGeom>
          <a:ln w="190500" cap="rnd">
            <a:solidFill>
              <a:srgbClr val="C8C6BD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1E7330F-3114-4763-B214-636BC1A1B850}"/>
              </a:ext>
            </a:extLst>
          </p:cNvPr>
          <p:cNvSpPr/>
          <p:nvPr/>
        </p:nvSpPr>
        <p:spPr>
          <a:xfrm>
            <a:off x="191344" y="636642"/>
            <a:ext cx="41044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2. Rechtsanspruch auf Leistungen in der GKV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7424B83-155F-4F2B-84CF-2968E36E7A78}"/>
              </a:ext>
            </a:extLst>
          </p:cNvPr>
          <p:cNvSpPr/>
          <p:nvPr/>
        </p:nvSpPr>
        <p:spPr>
          <a:xfrm>
            <a:off x="335360" y="5959748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s://www.dgo.de/mammographie-frueherkennung-brustkrebs/</a:t>
            </a: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48B28C1-FADC-4E11-BA62-E930CA51B217}"/>
              </a:ext>
            </a:extLst>
          </p:cNvPr>
          <p:cNvSpPr txBox="1"/>
          <p:nvPr/>
        </p:nvSpPr>
        <p:spPr>
          <a:xfrm>
            <a:off x="3575720" y="1078876"/>
            <a:ext cx="8563331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Wie sinnvoll ist die Mammographie zur Früherkennung?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Und wie werden vermeintlich positive Ergebnisse „verkauft“?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600.000 Studienteilnehmer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enn 2.000 Frauen 10 Jahre lang zur Mammographie gehen, lebt 1 Frau länger.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ei 10 Frauen wird aber ein vermeintlicher Brustkrebs behandelt, inkl. OP </a:t>
            </a:r>
          </a:p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Warum wird behauptet, die Sterberate würde durch 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Screening um 25% reduziert?</a:t>
            </a:r>
          </a:p>
          <a:p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enn von 2.000 Frauen ohne Screening 4 versterben, mit Screening 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nur 3, so entspricht das auf die 4 Frauen einer Senkung um 25%.</a:t>
            </a:r>
          </a:p>
          <a:p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Auf die 2.000 Screening-Teilnehmerinnen sind es dann leider 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aber nur 0,05% ! </a:t>
            </a:r>
          </a:p>
        </p:txBody>
      </p:sp>
      <p:pic>
        <p:nvPicPr>
          <p:cNvPr id="1026" name="Picture 2" descr="Deutsche Gesellschaft für Onkologie e. V.">
            <a:extLst>
              <a:ext uri="{FF2B5EF4-FFF2-40B4-BE49-F238E27FC236}">
                <a16:creationId xmlns:a16="http://schemas.microsoft.com/office/drawing/2014/main" id="{0546FBCF-4788-4E26-B539-C2AF18C564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75" y="5415716"/>
            <a:ext cx="2857500" cy="40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57021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1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9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6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00</Words>
  <Application>Microsoft Office PowerPoint</Application>
  <PresentationFormat>Breitbild</PresentationFormat>
  <Paragraphs>114</Paragraphs>
  <Slides>14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9" baseType="lpstr">
      <vt:lpstr>Arial</vt:lpstr>
      <vt:lpstr>Calibri</vt:lpstr>
      <vt:lpstr>Calibri Light</vt:lpstr>
      <vt:lpstr>1_Benutzerdefiniertes Design</vt:lpstr>
      <vt:lpstr>8_Benutzerdefiniertes Design</vt:lpstr>
      <vt:lpstr>7_Benutzerdefiniertes Design</vt:lpstr>
      <vt:lpstr>6_Benutzerdefiniertes Design</vt:lpstr>
      <vt:lpstr>5_Benutzerdefiniertes Design</vt:lpstr>
      <vt:lpstr>4_Benutzerdefiniertes Design</vt:lpstr>
      <vt:lpstr>3_Benutzerdefiniertes Design</vt:lpstr>
      <vt:lpstr>2_Benutzerdefiniertes Design</vt:lpstr>
      <vt:lpstr>Benutzerdefiniertes Design</vt:lpstr>
      <vt:lpstr>9_Benutzerdefiniertes Design</vt:lpstr>
      <vt:lpstr>Office</vt:lpstr>
      <vt:lpstr>PDF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trautner</dc:creator>
  <cp:lastModifiedBy>Andreas Trautner</cp:lastModifiedBy>
  <cp:revision>2001</cp:revision>
  <cp:lastPrinted>2019-03-12T07:54:21Z</cp:lastPrinted>
  <dcterms:created xsi:type="dcterms:W3CDTF">2010-09-22T09:19:18Z</dcterms:created>
  <dcterms:modified xsi:type="dcterms:W3CDTF">2020-06-18T09:29:15Z</dcterms:modified>
</cp:coreProperties>
</file>